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2.xml" ContentType="application/vnd.openxmlformats-officedocument.theme+xml"/>
  <Override PartName="/ppt/tags/tag3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60" r:id="rId4"/>
  </p:sldMasterIdLst>
  <p:notesMasterIdLst>
    <p:notesMasterId r:id="rId19"/>
  </p:notesMasterIdLst>
  <p:sldIdLst>
    <p:sldId id="414" r:id="rId5"/>
    <p:sldId id="467" r:id="rId6"/>
    <p:sldId id="468" r:id="rId7"/>
    <p:sldId id="469" r:id="rId8"/>
    <p:sldId id="481" r:id="rId9"/>
    <p:sldId id="470" r:id="rId10"/>
    <p:sldId id="473" r:id="rId11"/>
    <p:sldId id="482" r:id="rId12"/>
    <p:sldId id="472" r:id="rId13"/>
    <p:sldId id="480" r:id="rId14"/>
    <p:sldId id="483" r:id="rId15"/>
    <p:sldId id="484" r:id="rId16"/>
    <p:sldId id="434" r:id="rId17"/>
    <p:sldId id="276" r:id="rId18"/>
  </p:sldIdLst>
  <p:sldSz cx="12192000" cy="6858000"/>
  <p:notesSz cx="6858000" cy="9144000"/>
  <p:embeddedFontLst>
    <p:embeddedFont>
      <p:font typeface="Elevance Sans" panose="020B0604020202020204" charset="0"/>
      <p:regular r:id="rId20"/>
      <p:bold r:id="rId21"/>
      <p:italic r:id="rId22"/>
      <p:boldItalic r:id="rId23"/>
    </p:embeddedFont>
    <p:embeddedFont>
      <p:font typeface="Elevance Sans Medium" panose="020B0604020202020204" charset="0"/>
      <p:regular r:id="rId24"/>
      <p:italic r:id="rId25"/>
    </p:embeddedFont>
  </p:embeddedFontLst>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407DFAA-F551-0152-2ED5-EE39A2F085A2}" v="437" dt="2025-08-25T10:57:56.62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844" autoAdjust="0"/>
    <p:restoredTop sz="91111" autoAdjust="0"/>
  </p:normalViewPr>
  <p:slideViewPr>
    <p:cSldViewPr snapToGrid="0" snapToObjects="1">
      <p:cViewPr varScale="1">
        <p:scale>
          <a:sx n="75" d="100"/>
          <a:sy n="75" d="100"/>
        </p:scale>
        <p:origin x="1349" y="53"/>
      </p:cViewPr>
      <p:guideLst/>
    </p:cSldViewPr>
  </p:slideViewPr>
  <p:outlineViewPr>
    <p:cViewPr>
      <p:scale>
        <a:sx n="33" d="100"/>
        <a:sy n="33" d="100"/>
      </p:scale>
      <p:origin x="0" y="-51752"/>
    </p:cViewPr>
  </p:outlineViewPr>
  <p:notesTextViewPr>
    <p:cViewPr>
      <p:scale>
        <a:sx n="100" d="100"/>
        <a:sy n="100" d="100"/>
      </p:scale>
      <p:origin x="0" y="0"/>
    </p:cViewPr>
  </p:notesTextViewPr>
  <p:sorterViewPr>
    <p:cViewPr>
      <p:scale>
        <a:sx n="42" d="100"/>
        <a:sy n="42"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font" Target="fonts/font2.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6.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font" Target="fonts/font1.fntdata"/><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5.fntdata"/><Relationship Id="rId32"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4.fntdata"/><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notesMaster" Target="notesMasters/notesMaster1.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3.fntdata"/><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M, Roja" userId="3f7d0bc6-dbf6-4d6f-a169-d6fed478b298" providerId="ADAL" clId="{433777DD-36E3-4B34-8224-1BC3743E0991}"/>
    <pc:docChg chg="undo custSel addSld delSld modSld sldOrd">
      <pc:chgData name="C.M, Roja" userId="3f7d0bc6-dbf6-4d6f-a169-d6fed478b298" providerId="ADAL" clId="{433777DD-36E3-4B34-8224-1BC3743E0991}" dt="2024-10-24T09:29:46.759" v="4916" actId="20577"/>
      <pc:docMkLst>
        <pc:docMk/>
      </pc:docMkLst>
      <pc:sldChg chg="modSp mod">
        <pc:chgData name="C.M, Roja" userId="3f7d0bc6-dbf6-4d6f-a169-d6fed478b298" providerId="ADAL" clId="{433777DD-36E3-4B34-8224-1BC3743E0991}" dt="2024-08-28T14:51:29.080" v="2928" actId="20577"/>
        <pc:sldMkLst>
          <pc:docMk/>
          <pc:sldMk cId="3128460175" sldId="414"/>
        </pc:sldMkLst>
      </pc:sldChg>
      <pc:sldChg chg="modSp mod">
        <pc:chgData name="C.M, Roja" userId="3f7d0bc6-dbf6-4d6f-a169-d6fed478b298" providerId="ADAL" clId="{433777DD-36E3-4B34-8224-1BC3743E0991}" dt="2024-08-27T13:50:03.764" v="1816" actId="20577"/>
        <pc:sldMkLst>
          <pc:docMk/>
          <pc:sldMk cId="581221078" sldId="467"/>
        </pc:sldMkLst>
      </pc:sldChg>
      <pc:sldChg chg="modSp mod">
        <pc:chgData name="C.M, Roja" userId="3f7d0bc6-dbf6-4d6f-a169-d6fed478b298" providerId="ADAL" clId="{433777DD-36E3-4B34-8224-1BC3743E0991}" dt="2024-10-08T14:12:17.186" v="3745" actId="20577"/>
        <pc:sldMkLst>
          <pc:docMk/>
          <pc:sldMk cId="59020523" sldId="468"/>
        </pc:sldMkLst>
      </pc:sldChg>
      <pc:sldChg chg="modSp mod modNotesTx">
        <pc:chgData name="C.M, Roja" userId="3f7d0bc6-dbf6-4d6f-a169-d6fed478b298" providerId="ADAL" clId="{433777DD-36E3-4B34-8224-1BC3743E0991}" dt="2024-08-27T14:02:51.224" v="2119" actId="13926"/>
        <pc:sldMkLst>
          <pc:docMk/>
          <pc:sldMk cId="2830994021" sldId="469"/>
        </pc:sldMkLst>
      </pc:sldChg>
      <pc:sldChg chg="modSp mod modNotesTx">
        <pc:chgData name="C.M, Roja" userId="3f7d0bc6-dbf6-4d6f-a169-d6fed478b298" providerId="ADAL" clId="{433777DD-36E3-4B34-8224-1BC3743E0991}" dt="2024-08-27T14:07:10.614" v="2175" actId="6549"/>
        <pc:sldMkLst>
          <pc:docMk/>
          <pc:sldMk cId="904595445" sldId="470"/>
        </pc:sldMkLst>
      </pc:sldChg>
      <pc:sldChg chg="modSp del mod modNotesTx">
        <pc:chgData name="C.M, Roja" userId="3f7d0bc6-dbf6-4d6f-a169-d6fed478b298" providerId="ADAL" clId="{433777DD-36E3-4B34-8224-1BC3743E0991}" dt="2024-08-23T14:39:41.440" v="1354" actId="2696"/>
        <pc:sldMkLst>
          <pc:docMk/>
          <pc:sldMk cId="1714376436" sldId="471"/>
        </pc:sldMkLst>
      </pc:sldChg>
      <pc:sldChg chg="addSp delSp modSp new mod ord modNotesTx">
        <pc:chgData name="C.M, Roja" userId="3f7d0bc6-dbf6-4d6f-a169-d6fed478b298" providerId="ADAL" clId="{433777DD-36E3-4B34-8224-1BC3743E0991}" dt="2024-08-27T14:13:50.272" v="2179" actId="13926"/>
        <pc:sldMkLst>
          <pc:docMk/>
          <pc:sldMk cId="70404210" sldId="472"/>
        </pc:sldMkLst>
      </pc:sldChg>
      <pc:sldChg chg="addSp delSp modSp new mod modNotesTx">
        <pc:chgData name="C.M, Roja" userId="3f7d0bc6-dbf6-4d6f-a169-d6fed478b298" providerId="ADAL" clId="{433777DD-36E3-4B34-8224-1BC3743E0991}" dt="2024-08-28T12:05:40.558" v="2290" actId="14734"/>
        <pc:sldMkLst>
          <pc:docMk/>
          <pc:sldMk cId="4251520480" sldId="473"/>
        </pc:sldMkLst>
      </pc:sldChg>
      <pc:sldChg chg="addSp delSp modSp new mod modNotesTx">
        <pc:chgData name="C.M, Roja" userId="3f7d0bc6-dbf6-4d6f-a169-d6fed478b298" providerId="ADAL" clId="{433777DD-36E3-4B34-8224-1BC3743E0991}" dt="2024-08-23T14:50:21.893" v="1530" actId="14100"/>
        <pc:sldMkLst>
          <pc:docMk/>
          <pc:sldMk cId="3656697541" sldId="474"/>
        </pc:sldMkLst>
      </pc:sldChg>
      <pc:sldChg chg="new del">
        <pc:chgData name="C.M, Roja" userId="3f7d0bc6-dbf6-4d6f-a169-d6fed478b298" providerId="ADAL" clId="{433777DD-36E3-4B34-8224-1BC3743E0991}" dt="2024-08-21T14:31:37.185" v="732" actId="680"/>
        <pc:sldMkLst>
          <pc:docMk/>
          <pc:sldMk cId="646791258" sldId="475"/>
        </pc:sldMkLst>
      </pc:sldChg>
      <pc:sldChg chg="addSp delSp modSp new add del mod modClrScheme chgLayout modNotesTx">
        <pc:chgData name="C.M, Roja" userId="3f7d0bc6-dbf6-4d6f-a169-d6fed478b298" providerId="ADAL" clId="{433777DD-36E3-4B34-8224-1BC3743E0991}" dt="2024-08-21T14:31:47.080" v="736" actId="47"/>
        <pc:sldMkLst>
          <pc:docMk/>
          <pc:sldMk cId="2519451100" sldId="475"/>
        </pc:sldMkLst>
      </pc:sldChg>
      <pc:sldChg chg="addSp delSp modSp new mod ord modClrScheme chgLayout modNotesTx">
        <pc:chgData name="C.M, Roja" userId="3f7d0bc6-dbf6-4d6f-a169-d6fed478b298" providerId="ADAL" clId="{433777DD-36E3-4B34-8224-1BC3743E0991}" dt="2024-10-01T07:13:12.458" v="2944" actId="1038"/>
        <pc:sldMkLst>
          <pc:docMk/>
          <pc:sldMk cId="736382978" sldId="476"/>
        </pc:sldMkLst>
      </pc:sldChg>
      <pc:sldChg chg="addSp delSp modSp new del mod modClrScheme chgLayout">
        <pc:chgData name="C.M, Roja" userId="3f7d0bc6-dbf6-4d6f-a169-d6fed478b298" providerId="ADAL" clId="{433777DD-36E3-4B34-8224-1BC3743E0991}" dt="2024-08-22T07:18:15.521" v="870" actId="47"/>
        <pc:sldMkLst>
          <pc:docMk/>
          <pc:sldMk cId="4255373164" sldId="477"/>
        </pc:sldMkLst>
      </pc:sldChg>
      <pc:sldChg chg="addSp delSp modSp new mod modNotesTx">
        <pc:chgData name="C.M, Roja" userId="3f7d0bc6-dbf6-4d6f-a169-d6fed478b298" providerId="ADAL" clId="{433777DD-36E3-4B34-8224-1BC3743E0991}" dt="2024-08-28T14:46:07.862" v="2889" actId="14100"/>
        <pc:sldMkLst>
          <pc:docMk/>
          <pc:sldMk cId="3842149403" sldId="478"/>
        </pc:sldMkLst>
      </pc:sldChg>
      <pc:sldChg chg="addSp delSp modSp new mod">
        <pc:chgData name="C.M, Roja" userId="3f7d0bc6-dbf6-4d6f-a169-d6fed478b298" providerId="ADAL" clId="{433777DD-36E3-4B34-8224-1BC3743E0991}" dt="2024-08-28T14:50:17.003" v="2918" actId="14100"/>
        <pc:sldMkLst>
          <pc:docMk/>
          <pc:sldMk cId="2553895418" sldId="479"/>
        </pc:sldMkLst>
      </pc:sldChg>
      <pc:sldChg chg="delSp modSp new mod">
        <pc:chgData name="C.M, Roja" userId="3f7d0bc6-dbf6-4d6f-a169-d6fed478b298" providerId="ADAL" clId="{433777DD-36E3-4B34-8224-1BC3743E0991}" dt="2024-10-08T14:10:17.500" v="3727" actId="20577"/>
        <pc:sldMkLst>
          <pc:docMk/>
          <pc:sldMk cId="3203667423" sldId="480"/>
        </pc:sldMkLst>
      </pc:sldChg>
      <pc:sldChg chg="modSp new mod">
        <pc:chgData name="C.M, Roja" userId="3f7d0bc6-dbf6-4d6f-a169-d6fed478b298" providerId="ADAL" clId="{433777DD-36E3-4B34-8224-1BC3743E0991}" dt="2024-08-27T14:03:26.488" v="2154" actId="20577"/>
        <pc:sldMkLst>
          <pc:docMk/>
          <pc:sldMk cId="1805609770" sldId="481"/>
        </pc:sldMkLst>
      </pc:sldChg>
      <pc:sldChg chg="addSp delSp modSp new mod modNotesTx">
        <pc:chgData name="C.M, Roja" userId="3f7d0bc6-dbf6-4d6f-a169-d6fed478b298" providerId="ADAL" clId="{433777DD-36E3-4B34-8224-1BC3743E0991}" dt="2024-10-08T14:13:01.651" v="3776" actId="20577"/>
        <pc:sldMkLst>
          <pc:docMk/>
          <pc:sldMk cId="1566295349" sldId="482"/>
        </pc:sldMkLst>
      </pc:sldChg>
      <pc:sldChg chg="addSp delSp modSp new mod modClrScheme chgLayout modNotesTx">
        <pc:chgData name="C.M, Roja" userId="3f7d0bc6-dbf6-4d6f-a169-d6fed478b298" providerId="ADAL" clId="{433777DD-36E3-4B34-8224-1BC3743E0991}" dt="2024-08-28T14:46:14.131" v="2890" actId="478"/>
        <pc:sldMkLst>
          <pc:docMk/>
          <pc:sldMk cId="3695154592" sldId="483"/>
        </pc:sldMkLst>
      </pc:sldChg>
      <pc:sldChg chg="addSp delSp modSp new mod modNotesTx">
        <pc:chgData name="C.M, Roja" userId="3f7d0bc6-dbf6-4d6f-a169-d6fed478b298" providerId="ADAL" clId="{433777DD-36E3-4B34-8224-1BC3743E0991}" dt="2024-08-28T14:36:17.262" v="2878" actId="478"/>
        <pc:sldMkLst>
          <pc:docMk/>
          <pc:sldMk cId="1464147314" sldId="484"/>
        </pc:sldMkLst>
      </pc:sldChg>
      <pc:sldChg chg="modSp mod">
        <pc:chgData name="C.M, Roja" userId="3f7d0bc6-dbf6-4d6f-a169-d6fed478b298" providerId="ADAL" clId="{433777DD-36E3-4B34-8224-1BC3743E0991}" dt="2024-10-03T07:23:42.304" v="3060" actId="14100"/>
        <pc:sldMkLst>
          <pc:docMk/>
          <pc:sldMk cId="1711242263" sldId="485"/>
        </pc:sldMkLst>
      </pc:sldChg>
      <pc:sldChg chg="new del">
        <pc:chgData name="C.M, Roja" userId="3f7d0bc6-dbf6-4d6f-a169-d6fed478b298" providerId="ADAL" clId="{433777DD-36E3-4B34-8224-1BC3743E0991}" dt="2024-08-28T13:23:41.998" v="2828" actId="47"/>
        <pc:sldMkLst>
          <pc:docMk/>
          <pc:sldMk cId="2974253296" sldId="485"/>
        </pc:sldMkLst>
      </pc:sldChg>
      <pc:sldChg chg="addSp delSp modSp new del mod">
        <pc:chgData name="C.M, Roja" userId="3f7d0bc6-dbf6-4d6f-a169-d6fed478b298" providerId="ADAL" clId="{433777DD-36E3-4B34-8224-1BC3743E0991}" dt="2024-10-15T07:24:44.630" v="4136" actId="47"/>
        <pc:sldMkLst>
          <pc:docMk/>
          <pc:sldMk cId="3517144358" sldId="487"/>
        </pc:sldMkLst>
      </pc:sldChg>
      <pc:sldChg chg="addSp delSp modSp new mod">
        <pc:chgData name="C.M, Roja" userId="3f7d0bc6-dbf6-4d6f-a169-d6fed478b298" providerId="ADAL" clId="{433777DD-36E3-4B34-8224-1BC3743E0991}" dt="2024-10-14T09:49:56.757" v="3778"/>
        <pc:sldMkLst>
          <pc:docMk/>
          <pc:sldMk cId="1241199703" sldId="488"/>
        </pc:sldMkLst>
      </pc:sldChg>
      <pc:sldChg chg="new del">
        <pc:chgData name="C.M, Roja" userId="3f7d0bc6-dbf6-4d6f-a169-d6fed478b298" providerId="ADAL" clId="{433777DD-36E3-4B34-8224-1BC3743E0991}" dt="2024-10-03T07:23:55.512" v="3062" actId="47"/>
        <pc:sldMkLst>
          <pc:docMk/>
          <pc:sldMk cId="2912472167" sldId="489"/>
        </pc:sldMkLst>
      </pc:sldChg>
      <pc:sldChg chg="addSp delSp modSp new mod">
        <pc:chgData name="C.M, Roja" userId="3f7d0bc6-dbf6-4d6f-a169-d6fed478b298" providerId="ADAL" clId="{433777DD-36E3-4B34-8224-1BC3743E0991}" dt="2024-10-08T10:12:39.841" v="3672" actId="255"/>
        <pc:sldMkLst>
          <pc:docMk/>
          <pc:sldMk cId="1630711564" sldId="490"/>
        </pc:sldMkLst>
      </pc:sldChg>
      <pc:sldChg chg="new del">
        <pc:chgData name="C.M, Roja" userId="3f7d0bc6-dbf6-4d6f-a169-d6fed478b298" providerId="ADAL" clId="{433777DD-36E3-4B34-8224-1BC3743E0991}" dt="2024-10-03T10:39:56.893" v="3132" actId="47"/>
        <pc:sldMkLst>
          <pc:docMk/>
          <pc:sldMk cId="4228982800" sldId="491"/>
        </pc:sldMkLst>
      </pc:sldChg>
      <pc:sldChg chg="addSp modSp add mod">
        <pc:chgData name="C.M, Roja" userId="3f7d0bc6-dbf6-4d6f-a169-d6fed478b298" providerId="ADAL" clId="{433777DD-36E3-4B34-8224-1BC3743E0991}" dt="2024-10-03T10:44:07.196" v="3171" actId="20577"/>
        <pc:sldMkLst>
          <pc:docMk/>
          <pc:sldMk cId="1391421164" sldId="492"/>
        </pc:sldMkLst>
      </pc:sldChg>
      <pc:sldChg chg="new del">
        <pc:chgData name="C.M, Roja" userId="3f7d0bc6-dbf6-4d6f-a169-d6fed478b298" providerId="ADAL" clId="{433777DD-36E3-4B34-8224-1BC3743E0991}" dt="2024-10-03T10:44:54.460" v="3174" actId="47"/>
        <pc:sldMkLst>
          <pc:docMk/>
          <pc:sldMk cId="1407376634" sldId="493"/>
        </pc:sldMkLst>
      </pc:sldChg>
      <pc:sldChg chg="addSp delSp modSp add mod">
        <pc:chgData name="C.M, Roja" userId="3f7d0bc6-dbf6-4d6f-a169-d6fed478b298" providerId="ADAL" clId="{433777DD-36E3-4B34-8224-1BC3743E0991}" dt="2024-10-07T08:22:59.517" v="3500" actId="14734"/>
        <pc:sldMkLst>
          <pc:docMk/>
          <pc:sldMk cId="1517233518" sldId="494"/>
        </pc:sldMkLst>
      </pc:sldChg>
      <pc:sldChg chg="addSp delSp modSp new mod">
        <pc:chgData name="C.M, Roja" userId="3f7d0bc6-dbf6-4d6f-a169-d6fed478b298" providerId="ADAL" clId="{433777DD-36E3-4B34-8224-1BC3743E0991}" dt="2024-10-07T08:05:54.457" v="3456"/>
        <pc:sldMkLst>
          <pc:docMk/>
          <pc:sldMk cId="349993756" sldId="495"/>
        </pc:sldMkLst>
      </pc:sldChg>
      <pc:sldChg chg="addSp delSp modSp new mod">
        <pc:chgData name="C.M, Roja" userId="3f7d0bc6-dbf6-4d6f-a169-d6fed478b298" providerId="ADAL" clId="{433777DD-36E3-4B34-8224-1BC3743E0991}" dt="2024-10-08T11:58:00.821" v="3726" actId="478"/>
        <pc:sldMkLst>
          <pc:docMk/>
          <pc:sldMk cId="4099221226" sldId="496"/>
        </pc:sldMkLst>
      </pc:sldChg>
      <pc:sldChg chg="addSp delSp modSp new mod">
        <pc:chgData name="C.M, Roja" userId="3f7d0bc6-dbf6-4d6f-a169-d6fed478b298" providerId="ADAL" clId="{433777DD-36E3-4B34-8224-1BC3743E0991}" dt="2024-10-08T11:48:31.138" v="3716" actId="1076"/>
        <pc:sldMkLst>
          <pc:docMk/>
          <pc:sldMk cId="2509425644" sldId="497"/>
        </pc:sldMkLst>
      </pc:sldChg>
      <pc:sldChg chg="addSp delSp modSp new mod">
        <pc:chgData name="C.M, Roja" userId="3f7d0bc6-dbf6-4d6f-a169-d6fed478b298" providerId="ADAL" clId="{433777DD-36E3-4B34-8224-1BC3743E0991}" dt="2024-10-08T10:22:41.850" v="3679"/>
        <pc:sldMkLst>
          <pc:docMk/>
          <pc:sldMk cId="3670604289" sldId="498"/>
        </pc:sldMkLst>
      </pc:sldChg>
      <pc:sldChg chg="addSp delSp modSp new mod ord">
        <pc:chgData name="C.M, Roja" userId="3f7d0bc6-dbf6-4d6f-a169-d6fed478b298" providerId="ADAL" clId="{433777DD-36E3-4B34-8224-1BC3743E0991}" dt="2024-10-15T14:16:24.980" v="4272" actId="20577"/>
        <pc:sldMkLst>
          <pc:docMk/>
          <pc:sldMk cId="2682404902" sldId="499"/>
        </pc:sldMkLst>
      </pc:sldChg>
      <pc:sldChg chg="addSp delSp modSp new mod ord">
        <pc:chgData name="C.M, Roja" userId="3f7d0bc6-dbf6-4d6f-a169-d6fed478b298" providerId="ADAL" clId="{433777DD-36E3-4B34-8224-1BC3743E0991}" dt="2024-10-17T07:11:34.804" v="4519"/>
        <pc:sldMkLst>
          <pc:docMk/>
          <pc:sldMk cId="3755771359" sldId="500"/>
        </pc:sldMkLst>
      </pc:sldChg>
      <pc:sldChg chg="addSp delSp modSp new mod">
        <pc:chgData name="C.M, Roja" userId="3f7d0bc6-dbf6-4d6f-a169-d6fed478b298" providerId="ADAL" clId="{433777DD-36E3-4B34-8224-1BC3743E0991}" dt="2024-10-07T09:18:18.449" v="3616" actId="478"/>
        <pc:sldMkLst>
          <pc:docMk/>
          <pc:sldMk cId="1586127184" sldId="501"/>
        </pc:sldMkLst>
      </pc:sldChg>
      <pc:sldChg chg="addSp delSp modSp new mod ord">
        <pc:chgData name="C.M, Roja" userId="3f7d0bc6-dbf6-4d6f-a169-d6fed478b298" providerId="ADAL" clId="{433777DD-36E3-4B34-8224-1BC3743E0991}" dt="2024-10-14T13:43:40.324" v="3786" actId="478"/>
        <pc:sldMkLst>
          <pc:docMk/>
          <pc:sldMk cId="2104016211" sldId="502"/>
        </pc:sldMkLst>
      </pc:sldChg>
      <pc:sldChg chg="addSp delSp modSp new mod">
        <pc:chgData name="C.M, Roja" userId="3f7d0bc6-dbf6-4d6f-a169-d6fed478b298" providerId="ADAL" clId="{433777DD-36E3-4B34-8224-1BC3743E0991}" dt="2024-10-07T09:15:11.045" v="3615" actId="14100"/>
        <pc:sldMkLst>
          <pc:docMk/>
          <pc:sldMk cId="1295995000" sldId="503"/>
        </pc:sldMkLst>
      </pc:sldChg>
      <pc:sldChg chg="addSp delSp modSp new mod">
        <pc:chgData name="C.M, Roja" userId="3f7d0bc6-dbf6-4d6f-a169-d6fed478b298" providerId="ADAL" clId="{433777DD-36E3-4B34-8224-1BC3743E0991}" dt="2024-10-08T11:16:16.497" v="3692" actId="14100"/>
        <pc:sldMkLst>
          <pc:docMk/>
          <pc:sldMk cId="2692952276" sldId="504"/>
        </pc:sldMkLst>
      </pc:sldChg>
      <pc:sldChg chg="new">
        <pc:chgData name="C.M, Roja" userId="3f7d0bc6-dbf6-4d6f-a169-d6fed478b298" providerId="ADAL" clId="{433777DD-36E3-4B34-8224-1BC3743E0991}" dt="2024-10-14T08:14:56.227" v="3777" actId="680"/>
        <pc:sldMkLst>
          <pc:docMk/>
          <pc:sldMk cId="1778927091" sldId="505"/>
        </pc:sldMkLst>
      </pc:sldChg>
      <pc:sldChg chg="addSp modSp new del mod">
        <pc:chgData name="C.M, Roja" userId="3f7d0bc6-dbf6-4d6f-a169-d6fed478b298" providerId="ADAL" clId="{433777DD-36E3-4B34-8224-1BC3743E0991}" dt="2024-10-15T11:01:43.860" v="4173" actId="47"/>
        <pc:sldMkLst>
          <pc:docMk/>
          <pc:sldMk cId="751611588" sldId="506"/>
        </pc:sldMkLst>
      </pc:sldChg>
      <pc:sldChg chg="addSp delSp modSp new mod modNotesTx">
        <pc:chgData name="C.M, Roja" userId="3f7d0bc6-dbf6-4d6f-a169-d6fed478b298" providerId="ADAL" clId="{433777DD-36E3-4B34-8224-1BC3743E0991}" dt="2024-10-15T07:20:32.385" v="4129" actId="478"/>
        <pc:sldMkLst>
          <pc:docMk/>
          <pc:sldMk cId="91750246" sldId="507"/>
        </pc:sldMkLst>
      </pc:sldChg>
      <pc:sldChg chg="addSp delSp modSp new mod">
        <pc:chgData name="C.M, Roja" userId="3f7d0bc6-dbf6-4d6f-a169-d6fed478b298" providerId="ADAL" clId="{433777DD-36E3-4B34-8224-1BC3743E0991}" dt="2024-10-16T12:19:34.803" v="4396"/>
        <pc:sldMkLst>
          <pc:docMk/>
          <pc:sldMk cId="3418295551" sldId="508"/>
        </pc:sldMkLst>
      </pc:sldChg>
      <pc:sldChg chg="addSp delSp modSp new mod">
        <pc:chgData name="C.M, Roja" userId="3f7d0bc6-dbf6-4d6f-a169-d6fed478b298" providerId="ADAL" clId="{433777DD-36E3-4B34-8224-1BC3743E0991}" dt="2024-10-15T11:08:26.378" v="4199" actId="20577"/>
        <pc:sldMkLst>
          <pc:docMk/>
          <pc:sldMk cId="1929583867" sldId="509"/>
        </pc:sldMkLst>
      </pc:sldChg>
      <pc:sldChg chg="addSp delSp modSp new mod modClrScheme chgLayout">
        <pc:chgData name="C.M, Roja" userId="3f7d0bc6-dbf6-4d6f-a169-d6fed478b298" providerId="ADAL" clId="{433777DD-36E3-4B34-8224-1BC3743E0991}" dt="2024-10-15T11:10:04.960" v="4213"/>
        <pc:sldMkLst>
          <pc:docMk/>
          <pc:sldMk cId="3670066245" sldId="510"/>
        </pc:sldMkLst>
      </pc:sldChg>
      <pc:sldChg chg="addSp delSp modSp new del mod">
        <pc:chgData name="C.M, Roja" userId="3f7d0bc6-dbf6-4d6f-a169-d6fed478b298" providerId="ADAL" clId="{433777DD-36E3-4B34-8224-1BC3743E0991}" dt="2024-10-17T06:55:56.795" v="4511" actId="47"/>
        <pc:sldMkLst>
          <pc:docMk/>
          <pc:sldMk cId="1431685208" sldId="511"/>
        </pc:sldMkLst>
      </pc:sldChg>
      <pc:sldChg chg="add del">
        <pc:chgData name="C.M, Roja" userId="3f7d0bc6-dbf6-4d6f-a169-d6fed478b298" providerId="ADAL" clId="{433777DD-36E3-4B34-8224-1BC3743E0991}" dt="2024-10-17T06:55:58.829" v="4512" actId="47"/>
        <pc:sldMkLst>
          <pc:docMk/>
          <pc:sldMk cId="4137325893" sldId="512"/>
        </pc:sldMkLst>
      </pc:sldChg>
      <pc:sldChg chg="addSp delSp modSp new mod">
        <pc:chgData name="C.M, Roja" userId="3f7d0bc6-dbf6-4d6f-a169-d6fed478b298" providerId="ADAL" clId="{433777DD-36E3-4B34-8224-1BC3743E0991}" dt="2024-10-16T14:00:12.326" v="4404" actId="14100"/>
        <pc:sldMkLst>
          <pc:docMk/>
          <pc:sldMk cId="902809411" sldId="513"/>
        </pc:sldMkLst>
      </pc:sldChg>
      <pc:sldChg chg="addSp delSp modSp new mod ord">
        <pc:chgData name="C.M, Roja" userId="3f7d0bc6-dbf6-4d6f-a169-d6fed478b298" providerId="ADAL" clId="{433777DD-36E3-4B34-8224-1BC3743E0991}" dt="2024-10-17T08:39:25.796" v="4527" actId="255"/>
        <pc:sldMkLst>
          <pc:docMk/>
          <pc:sldMk cId="2888064988" sldId="514"/>
        </pc:sldMkLst>
      </pc:sldChg>
      <pc:sldChg chg="addSp delSp modSp new mod">
        <pc:chgData name="C.M, Roja" userId="3f7d0bc6-dbf6-4d6f-a169-d6fed478b298" providerId="ADAL" clId="{433777DD-36E3-4B34-8224-1BC3743E0991}" dt="2024-10-17T14:22:41.753" v="4633" actId="20577"/>
        <pc:sldMkLst>
          <pc:docMk/>
          <pc:sldMk cId="1986990956" sldId="515"/>
        </pc:sldMkLst>
      </pc:sldChg>
      <pc:sldChg chg="addSp delSp modSp new mod">
        <pc:chgData name="C.M, Roja" userId="3f7d0bc6-dbf6-4d6f-a169-d6fed478b298" providerId="ADAL" clId="{433777DD-36E3-4B34-8224-1BC3743E0991}" dt="2024-10-17T09:32:58.010" v="4566" actId="478"/>
        <pc:sldMkLst>
          <pc:docMk/>
          <pc:sldMk cId="1526422383" sldId="516"/>
        </pc:sldMkLst>
      </pc:sldChg>
      <pc:sldChg chg="modSp new mod">
        <pc:chgData name="C.M, Roja" userId="3f7d0bc6-dbf6-4d6f-a169-d6fed478b298" providerId="ADAL" clId="{433777DD-36E3-4B34-8224-1BC3743E0991}" dt="2024-10-24T08:51:40.499" v="4806" actId="20577"/>
        <pc:sldMkLst>
          <pc:docMk/>
          <pc:sldMk cId="3880248519" sldId="517"/>
        </pc:sldMkLst>
      </pc:sldChg>
      <pc:sldChg chg="addSp delSp modSp new mod">
        <pc:chgData name="C.M, Roja" userId="3f7d0bc6-dbf6-4d6f-a169-d6fed478b298" providerId="ADAL" clId="{433777DD-36E3-4B34-8224-1BC3743E0991}" dt="2024-10-22T07:47:48.742" v="4729" actId="14100"/>
        <pc:sldMkLst>
          <pc:docMk/>
          <pc:sldMk cId="4014778839" sldId="518"/>
        </pc:sldMkLst>
      </pc:sldChg>
      <pc:sldChg chg="addSp delSp modSp new mod">
        <pc:chgData name="C.M, Roja" userId="3f7d0bc6-dbf6-4d6f-a169-d6fed478b298" providerId="ADAL" clId="{433777DD-36E3-4B34-8224-1BC3743E0991}" dt="2024-10-21T13:15:15.562" v="4701" actId="255"/>
        <pc:sldMkLst>
          <pc:docMk/>
          <pc:sldMk cId="129630916" sldId="519"/>
        </pc:sldMkLst>
      </pc:sldChg>
      <pc:sldChg chg="addSp delSp modSp new mod">
        <pc:chgData name="C.M, Roja" userId="3f7d0bc6-dbf6-4d6f-a169-d6fed478b298" providerId="ADAL" clId="{433777DD-36E3-4B34-8224-1BC3743E0991}" dt="2024-10-22T12:24:31.896" v="4793" actId="255"/>
        <pc:sldMkLst>
          <pc:docMk/>
          <pc:sldMk cId="1935137611" sldId="520"/>
        </pc:sldMkLst>
      </pc:sldChg>
      <pc:sldChg chg="addSp delSp modSp new mod">
        <pc:chgData name="C.M, Roja" userId="3f7d0bc6-dbf6-4d6f-a169-d6fed478b298" providerId="ADAL" clId="{433777DD-36E3-4B34-8224-1BC3743E0991}" dt="2024-10-22T12:23:40.769" v="4790" actId="255"/>
        <pc:sldMkLst>
          <pc:docMk/>
          <pc:sldMk cId="1909914911" sldId="521"/>
        </pc:sldMkLst>
      </pc:sldChg>
      <pc:sldChg chg="modSp new mod">
        <pc:chgData name="C.M, Roja" userId="3f7d0bc6-dbf6-4d6f-a169-d6fed478b298" providerId="ADAL" clId="{433777DD-36E3-4B34-8224-1BC3743E0991}" dt="2024-10-24T08:52:01.822" v="4825" actId="5793"/>
        <pc:sldMkLst>
          <pc:docMk/>
          <pc:sldMk cId="723761027" sldId="522"/>
        </pc:sldMkLst>
      </pc:sldChg>
      <pc:sldChg chg="addSp delSp modSp new mod">
        <pc:chgData name="C.M, Roja" userId="3f7d0bc6-dbf6-4d6f-a169-d6fed478b298" providerId="ADAL" clId="{433777DD-36E3-4B34-8224-1BC3743E0991}" dt="2024-10-24T08:53:26.842" v="4860" actId="20577"/>
        <pc:sldMkLst>
          <pc:docMk/>
          <pc:sldMk cId="3634675227" sldId="523"/>
        </pc:sldMkLst>
      </pc:sldChg>
      <pc:sldChg chg="addSp delSp modSp new mod">
        <pc:chgData name="C.M, Roja" userId="3f7d0bc6-dbf6-4d6f-a169-d6fed478b298" providerId="ADAL" clId="{433777DD-36E3-4B34-8224-1BC3743E0991}" dt="2024-10-24T08:54:03.629" v="4876" actId="478"/>
        <pc:sldMkLst>
          <pc:docMk/>
          <pc:sldMk cId="3849832781" sldId="524"/>
        </pc:sldMkLst>
      </pc:sldChg>
      <pc:sldChg chg="addSp delSp modSp new mod">
        <pc:chgData name="C.M, Roja" userId="3f7d0bc6-dbf6-4d6f-a169-d6fed478b298" providerId="ADAL" clId="{433777DD-36E3-4B34-8224-1BC3743E0991}" dt="2024-10-24T09:29:46.759" v="4916" actId="20577"/>
        <pc:sldMkLst>
          <pc:docMk/>
          <pc:sldMk cId="2734602853" sldId="525"/>
        </pc:sldMkLst>
      </pc:sldChg>
    </pc:docChg>
  </pc:docChgLst>
  <pc:docChgLst>
    <pc:chgData name="Sharma, Aman" userId="S::al58392@ad.wellpoint.com::819efb0e-7d13-4698-9923-01d032afee56" providerId="AD" clId="Web-{3407DFAA-F551-0152-2ED5-EE39A2F085A2}"/>
    <pc:docChg chg="addSld delSld modSld">
      <pc:chgData name="Sharma, Aman" userId="S::al58392@ad.wellpoint.com::819efb0e-7d13-4698-9923-01d032afee56" providerId="AD" clId="Web-{3407DFAA-F551-0152-2ED5-EE39A2F085A2}" dt="2025-08-25T10:57:56.624" v="177" actId="14100"/>
      <pc:docMkLst>
        <pc:docMk/>
      </pc:docMkLst>
      <pc:sldChg chg="addSp delSp modSp">
        <pc:chgData name="Sharma, Aman" userId="S::al58392@ad.wellpoint.com::819efb0e-7d13-4698-9923-01d032afee56" providerId="AD" clId="Web-{3407DFAA-F551-0152-2ED5-EE39A2F085A2}" dt="2025-08-25T09:22:58.542" v="9" actId="1076"/>
        <pc:sldMkLst>
          <pc:docMk/>
          <pc:sldMk cId="3128460175" sldId="414"/>
        </pc:sldMkLst>
        <pc:spChg chg="add del mod">
          <ac:chgData name="Sharma, Aman" userId="S::al58392@ad.wellpoint.com::819efb0e-7d13-4698-9923-01d032afee56" providerId="AD" clId="Web-{3407DFAA-F551-0152-2ED5-EE39A2F085A2}" dt="2025-08-25T09:22:41.354" v="6"/>
          <ac:spMkLst>
            <pc:docMk/>
            <pc:sldMk cId="3128460175" sldId="414"/>
            <ac:spMk id="2" creationId="{E7D14F20-0653-76F8-D375-2CA832050DF0}"/>
          </ac:spMkLst>
        </pc:spChg>
        <pc:spChg chg="add mod">
          <ac:chgData name="Sharma, Aman" userId="S::al58392@ad.wellpoint.com::819efb0e-7d13-4698-9923-01d032afee56" providerId="AD" clId="Web-{3407DFAA-F551-0152-2ED5-EE39A2F085A2}" dt="2025-08-25T09:22:58.542" v="9" actId="1076"/>
          <ac:spMkLst>
            <pc:docMk/>
            <pc:sldMk cId="3128460175" sldId="414"/>
            <ac:spMk id="3" creationId="{40A5537D-61DD-E424-DAA8-0A593264A13C}"/>
          </ac:spMkLst>
        </pc:spChg>
        <pc:spChg chg="mod">
          <ac:chgData name="Sharma, Aman" userId="S::al58392@ad.wellpoint.com::819efb0e-7d13-4698-9923-01d032afee56" providerId="AD" clId="Web-{3407DFAA-F551-0152-2ED5-EE39A2F085A2}" dt="2025-08-25T09:22:29.385" v="2" actId="14100"/>
          <ac:spMkLst>
            <pc:docMk/>
            <pc:sldMk cId="3128460175" sldId="414"/>
            <ac:spMk id="7" creationId="{80A0F69B-72CA-54A1-0AA6-BD3C0E24AB3C}"/>
          </ac:spMkLst>
        </pc:spChg>
      </pc:sldChg>
      <pc:sldChg chg="modSp">
        <pc:chgData name="Sharma, Aman" userId="S::al58392@ad.wellpoint.com::819efb0e-7d13-4698-9923-01d032afee56" providerId="AD" clId="Web-{3407DFAA-F551-0152-2ED5-EE39A2F085A2}" dt="2025-08-25T10:25:28.020" v="20" actId="20577"/>
        <pc:sldMkLst>
          <pc:docMk/>
          <pc:sldMk cId="581221078" sldId="467"/>
        </pc:sldMkLst>
        <pc:spChg chg="mod">
          <ac:chgData name="Sharma, Aman" userId="S::al58392@ad.wellpoint.com::819efb0e-7d13-4698-9923-01d032afee56" providerId="AD" clId="Web-{3407DFAA-F551-0152-2ED5-EE39A2F085A2}" dt="2025-08-25T10:25:28.020" v="20" actId="20577"/>
          <ac:spMkLst>
            <pc:docMk/>
            <pc:sldMk cId="581221078" sldId="467"/>
            <ac:spMk id="9" creationId="{59FF59FE-2C21-5F45-90F1-3AAFD7CCA883}"/>
          </ac:spMkLst>
        </pc:spChg>
      </pc:sldChg>
      <pc:sldChg chg="addSp delSp modSp">
        <pc:chgData name="Sharma, Aman" userId="S::al58392@ad.wellpoint.com::819efb0e-7d13-4698-9923-01d032afee56" providerId="AD" clId="Web-{3407DFAA-F551-0152-2ED5-EE39A2F085A2}" dt="2025-08-25T10:26:23.602" v="25" actId="1076"/>
        <pc:sldMkLst>
          <pc:docMk/>
          <pc:sldMk cId="59020523" sldId="468"/>
        </pc:sldMkLst>
        <pc:spChg chg="mod">
          <ac:chgData name="Sharma, Aman" userId="S::al58392@ad.wellpoint.com::819efb0e-7d13-4698-9923-01d032afee56" providerId="AD" clId="Web-{3407DFAA-F551-0152-2ED5-EE39A2F085A2}" dt="2025-08-25T10:26:07.429" v="21" actId="20577"/>
          <ac:spMkLst>
            <pc:docMk/>
            <pc:sldMk cId="59020523" sldId="468"/>
            <ac:spMk id="2" creationId="{3D2AD801-A10C-59A4-C3ED-A2ADF6EB9010}"/>
          </ac:spMkLst>
        </pc:spChg>
        <pc:spChg chg="del mod">
          <ac:chgData name="Sharma, Aman" userId="S::al58392@ad.wellpoint.com::819efb0e-7d13-4698-9923-01d032afee56" providerId="AD" clId="Web-{3407DFAA-F551-0152-2ED5-EE39A2F085A2}" dt="2025-08-25T10:26:20.133" v="24"/>
          <ac:spMkLst>
            <pc:docMk/>
            <pc:sldMk cId="59020523" sldId="468"/>
            <ac:spMk id="3" creationId="{A50EDE73-3866-062B-49FA-129EE7081B89}"/>
          </ac:spMkLst>
        </pc:spChg>
        <pc:picChg chg="add mod ord">
          <ac:chgData name="Sharma, Aman" userId="S::al58392@ad.wellpoint.com::819efb0e-7d13-4698-9923-01d032afee56" providerId="AD" clId="Web-{3407DFAA-F551-0152-2ED5-EE39A2F085A2}" dt="2025-08-25T10:26:23.602" v="25" actId="1076"/>
          <ac:picMkLst>
            <pc:docMk/>
            <pc:sldMk cId="59020523" sldId="468"/>
            <ac:picMk id="4" creationId="{D89B43FA-12B9-F1B9-C942-631F77C265C4}"/>
          </ac:picMkLst>
        </pc:picChg>
      </pc:sldChg>
      <pc:sldChg chg="modSp">
        <pc:chgData name="Sharma, Aman" userId="S::al58392@ad.wellpoint.com::819efb0e-7d13-4698-9923-01d032afee56" providerId="AD" clId="Web-{3407DFAA-F551-0152-2ED5-EE39A2F085A2}" dt="2025-08-25T10:28:05.485" v="28" actId="20577"/>
        <pc:sldMkLst>
          <pc:docMk/>
          <pc:sldMk cId="2830994021" sldId="469"/>
        </pc:sldMkLst>
        <pc:spChg chg="mod">
          <ac:chgData name="Sharma, Aman" userId="S::al58392@ad.wellpoint.com::819efb0e-7d13-4698-9923-01d032afee56" providerId="AD" clId="Web-{3407DFAA-F551-0152-2ED5-EE39A2F085A2}" dt="2025-08-25T10:28:05.485" v="28" actId="20577"/>
          <ac:spMkLst>
            <pc:docMk/>
            <pc:sldMk cId="2830994021" sldId="469"/>
            <ac:spMk id="2" creationId="{3F0B0385-709B-0434-A7E5-518A70B72CB0}"/>
          </ac:spMkLst>
        </pc:spChg>
        <pc:spChg chg="mod">
          <ac:chgData name="Sharma, Aman" userId="S::al58392@ad.wellpoint.com::819efb0e-7d13-4698-9923-01d032afee56" providerId="AD" clId="Web-{3407DFAA-F551-0152-2ED5-EE39A2F085A2}" dt="2025-08-25T10:27:46.702" v="27" actId="20577"/>
          <ac:spMkLst>
            <pc:docMk/>
            <pc:sldMk cId="2830994021" sldId="469"/>
            <ac:spMk id="3" creationId="{119CC90B-095E-3388-638C-50ED07AA1628}"/>
          </ac:spMkLst>
        </pc:spChg>
      </pc:sldChg>
      <pc:sldChg chg="addSp delSp modSp">
        <pc:chgData name="Sharma, Aman" userId="S::al58392@ad.wellpoint.com::819efb0e-7d13-4698-9923-01d032afee56" providerId="AD" clId="Web-{3407DFAA-F551-0152-2ED5-EE39A2F085A2}" dt="2025-08-25T10:31:27.313" v="45" actId="1076"/>
        <pc:sldMkLst>
          <pc:docMk/>
          <pc:sldMk cId="904595445" sldId="470"/>
        </pc:sldMkLst>
        <pc:spChg chg="mod">
          <ac:chgData name="Sharma, Aman" userId="S::al58392@ad.wellpoint.com::819efb0e-7d13-4698-9923-01d032afee56" providerId="AD" clId="Web-{3407DFAA-F551-0152-2ED5-EE39A2F085A2}" dt="2025-08-25T10:30:41.122" v="38" actId="20577"/>
          <ac:spMkLst>
            <pc:docMk/>
            <pc:sldMk cId="904595445" sldId="470"/>
            <ac:spMk id="2" creationId="{1D0A5938-2C6E-C363-1251-D468845D73D6}"/>
          </ac:spMkLst>
        </pc:spChg>
        <pc:spChg chg="mod">
          <ac:chgData name="Sharma, Aman" userId="S::al58392@ad.wellpoint.com::819efb0e-7d13-4698-9923-01d032afee56" providerId="AD" clId="Web-{3407DFAA-F551-0152-2ED5-EE39A2F085A2}" dt="2025-08-25T10:30:51.341" v="39" actId="20577"/>
          <ac:spMkLst>
            <pc:docMk/>
            <pc:sldMk cId="904595445" sldId="470"/>
            <ac:spMk id="3" creationId="{23B04CD5-FEA0-2939-79A7-E6DF57A9783A}"/>
          </ac:spMkLst>
        </pc:spChg>
        <pc:picChg chg="add del mod">
          <ac:chgData name="Sharma, Aman" userId="S::al58392@ad.wellpoint.com::819efb0e-7d13-4698-9923-01d032afee56" providerId="AD" clId="Web-{3407DFAA-F551-0152-2ED5-EE39A2F085A2}" dt="2025-08-25T10:31:12.140" v="41"/>
          <ac:picMkLst>
            <pc:docMk/>
            <pc:sldMk cId="904595445" sldId="470"/>
            <ac:picMk id="4" creationId="{F8B83A51-6A36-84D5-6531-BE846A96C280}"/>
          </ac:picMkLst>
        </pc:picChg>
        <pc:picChg chg="add mod">
          <ac:chgData name="Sharma, Aman" userId="S::al58392@ad.wellpoint.com::819efb0e-7d13-4698-9923-01d032afee56" providerId="AD" clId="Web-{3407DFAA-F551-0152-2ED5-EE39A2F085A2}" dt="2025-08-25T10:31:27.313" v="45" actId="1076"/>
          <ac:picMkLst>
            <pc:docMk/>
            <pc:sldMk cId="904595445" sldId="470"/>
            <ac:picMk id="5" creationId="{343C552C-8223-F107-12F7-3EAD1867EBE9}"/>
          </ac:picMkLst>
        </pc:picChg>
      </pc:sldChg>
      <pc:sldChg chg="addSp delSp modSp">
        <pc:chgData name="Sharma, Aman" userId="S::al58392@ad.wellpoint.com::819efb0e-7d13-4698-9923-01d032afee56" providerId="AD" clId="Web-{3407DFAA-F551-0152-2ED5-EE39A2F085A2}" dt="2025-08-25T10:52:19.864" v="135" actId="20577"/>
        <pc:sldMkLst>
          <pc:docMk/>
          <pc:sldMk cId="70404210" sldId="472"/>
        </pc:sldMkLst>
        <pc:spChg chg="mod">
          <ac:chgData name="Sharma, Aman" userId="S::al58392@ad.wellpoint.com::819efb0e-7d13-4698-9923-01d032afee56" providerId="AD" clId="Web-{3407DFAA-F551-0152-2ED5-EE39A2F085A2}" dt="2025-08-25T10:52:19.864" v="135" actId="20577"/>
          <ac:spMkLst>
            <pc:docMk/>
            <pc:sldMk cId="70404210" sldId="472"/>
            <ac:spMk id="2" creationId="{B0D95116-2287-1EBD-355C-7597C069BEEC}"/>
          </ac:spMkLst>
        </pc:spChg>
        <pc:spChg chg="add del mod">
          <ac:chgData name="Sharma, Aman" userId="S::al58392@ad.wellpoint.com::819efb0e-7d13-4698-9923-01d032afee56" providerId="AD" clId="Web-{3407DFAA-F551-0152-2ED5-EE39A2F085A2}" dt="2025-08-25T10:52:14.973" v="134"/>
          <ac:spMkLst>
            <pc:docMk/>
            <pc:sldMk cId="70404210" sldId="472"/>
            <ac:spMk id="7" creationId="{811DC81E-040B-AFB3-5D63-68716499FBA5}"/>
          </ac:spMkLst>
        </pc:spChg>
        <pc:graphicFrameChg chg="add mod">
          <ac:chgData name="Sharma, Aman" userId="S::al58392@ad.wellpoint.com::819efb0e-7d13-4698-9923-01d032afee56" providerId="AD" clId="Web-{3407DFAA-F551-0152-2ED5-EE39A2F085A2}" dt="2025-08-25T10:51:35.033" v="130"/>
          <ac:graphicFrameMkLst>
            <pc:docMk/>
            <pc:sldMk cId="70404210" sldId="472"/>
            <ac:graphicFrameMk id="4" creationId="{AFA2109F-BF8C-2B8C-1877-BEB64FD5BD17}"/>
          </ac:graphicFrameMkLst>
        </pc:graphicFrameChg>
        <pc:graphicFrameChg chg="del">
          <ac:chgData name="Sharma, Aman" userId="S::al58392@ad.wellpoint.com::819efb0e-7d13-4698-9923-01d032afee56" providerId="AD" clId="Web-{3407DFAA-F551-0152-2ED5-EE39A2F085A2}" dt="2025-08-25T10:51:38.955" v="131"/>
          <ac:graphicFrameMkLst>
            <pc:docMk/>
            <pc:sldMk cId="70404210" sldId="472"/>
            <ac:graphicFrameMk id="5" creationId="{EED0C913-EF78-EFA6-76EF-DB8526C30DA5}"/>
          </ac:graphicFrameMkLst>
        </pc:graphicFrameChg>
      </pc:sldChg>
      <pc:sldChg chg="addSp delSp modSp">
        <pc:chgData name="Sharma, Aman" userId="S::al58392@ad.wellpoint.com::819efb0e-7d13-4698-9923-01d032afee56" providerId="AD" clId="Web-{3407DFAA-F551-0152-2ED5-EE39A2F085A2}" dt="2025-08-25T10:32:37.022" v="53" actId="1076"/>
        <pc:sldMkLst>
          <pc:docMk/>
          <pc:sldMk cId="4251520480" sldId="473"/>
        </pc:sldMkLst>
        <pc:spChg chg="mod">
          <ac:chgData name="Sharma, Aman" userId="S::al58392@ad.wellpoint.com::819efb0e-7d13-4698-9923-01d032afee56" providerId="AD" clId="Web-{3407DFAA-F551-0152-2ED5-EE39A2F085A2}" dt="2025-08-25T10:32:03.879" v="48" actId="20577"/>
          <ac:spMkLst>
            <pc:docMk/>
            <pc:sldMk cId="4251520480" sldId="473"/>
            <ac:spMk id="2" creationId="{DC811027-7410-A16A-936F-78D2574C2EB9}"/>
          </ac:spMkLst>
        </pc:spChg>
        <pc:spChg chg="add del mod">
          <ac:chgData name="Sharma, Aman" userId="S::al58392@ad.wellpoint.com::819efb0e-7d13-4698-9923-01d032afee56" providerId="AD" clId="Web-{3407DFAA-F551-0152-2ED5-EE39A2F085A2}" dt="2025-08-25T10:32:20.521" v="50"/>
          <ac:spMkLst>
            <pc:docMk/>
            <pc:sldMk cId="4251520480" sldId="473"/>
            <ac:spMk id="6" creationId="{0F2232ED-4E31-3F39-1517-0E48AA9B3D8B}"/>
          </ac:spMkLst>
        </pc:spChg>
        <pc:spChg chg="add del mod">
          <ac:chgData name="Sharma, Aman" userId="S::al58392@ad.wellpoint.com::819efb0e-7d13-4698-9923-01d032afee56" providerId="AD" clId="Web-{3407DFAA-F551-0152-2ED5-EE39A2F085A2}" dt="2025-08-25T10:32:31.100" v="52"/>
          <ac:spMkLst>
            <pc:docMk/>
            <pc:sldMk cId="4251520480" sldId="473"/>
            <ac:spMk id="10" creationId="{F2615C30-F3A4-EEDE-3AA3-DF8B3B406CD8}"/>
          </ac:spMkLst>
        </pc:spChg>
        <pc:graphicFrameChg chg="del">
          <ac:chgData name="Sharma, Aman" userId="S::al58392@ad.wellpoint.com::819efb0e-7d13-4698-9923-01d032afee56" providerId="AD" clId="Web-{3407DFAA-F551-0152-2ED5-EE39A2F085A2}" dt="2025-08-25T10:32:18.521" v="49"/>
          <ac:graphicFrameMkLst>
            <pc:docMk/>
            <pc:sldMk cId="4251520480" sldId="473"/>
            <ac:graphicFrameMk id="5" creationId="{C71B2C59-8F8D-3265-672D-46F352262EBD}"/>
          </ac:graphicFrameMkLst>
        </pc:graphicFrameChg>
        <pc:graphicFrameChg chg="add">
          <ac:chgData name="Sharma, Aman" userId="S::al58392@ad.wellpoint.com::819efb0e-7d13-4698-9923-01d032afee56" providerId="AD" clId="Web-{3407DFAA-F551-0152-2ED5-EE39A2F085A2}" dt="2025-08-25T10:32:20.521" v="50"/>
          <ac:graphicFrameMkLst>
            <pc:docMk/>
            <pc:sldMk cId="4251520480" sldId="473"/>
            <ac:graphicFrameMk id="8" creationId="{C71B2C59-8F8D-3265-672D-46F352262EBD}"/>
          </ac:graphicFrameMkLst>
        </pc:graphicFrameChg>
        <pc:graphicFrameChg chg="del mod ord modGraphic">
          <ac:chgData name="Sharma, Aman" userId="S::al58392@ad.wellpoint.com::819efb0e-7d13-4698-9923-01d032afee56" providerId="AD" clId="Web-{3407DFAA-F551-0152-2ED5-EE39A2F085A2}" dt="2025-08-25T10:32:24.959" v="51"/>
          <ac:graphicFrameMkLst>
            <pc:docMk/>
            <pc:sldMk cId="4251520480" sldId="473"/>
            <ac:graphicFrameMk id="8" creationId="{C71B2C59-8F8D-3265-672D-46F352262EBD}"/>
          </ac:graphicFrameMkLst>
        </pc:graphicFrameChg>
        <pc:picChg chg="add del mod">
          <ac:chgData name="Sharma, Aman" userId="S::al58392@ad.wellpoint.com::819efb0e-7d13-4698-9923-01d032afee56" providerId="AD" clId="Web-{3407DFAA-F551-0152-2ED5-EE39A2F085A2}" dt="2025-08-25T10:31:52.941" v="47"/>
          <ac:picMkLst>
            <pc:docMk/>
            <pc:sldMk cId="4251520480" sldId="473"/>
            <ac:picMk id="3" creationId="{840E16CB-F075-8B18-E7A5-45E7DACFADAE}"/>
          </ac:picMkLst>
        </pc:picChg>
        <pc:picChg chg="add mod ord">
          <ac:chgData name="Sharma, Aman" userId="S::al58392@ad.wellpoint.com::819efb0e-7d13-4698-9923-01d032afee56" providerId="AD" clId="Web-{3407DFAA-F551-0152-2ED5-EE39A2F085A2}" dt="2025-08-25T10:32:37.022" v="53" actId="1076"/>
          <ac:picMkLst>
            <pc:docMk/>
            <pc:sldMk cId="4251520480" sldId="473"/>
            <ac:picMk id="11" creationId="{1FAACEBA-EE23-0EC3-4C55-DD05C76FCDDE}"/>
          </ac:picMkLst>
        </pc:picChg>
      </pc:sldChg>
      <pc:sldChg chg="del">
        <pc:chgData name="Sharma, Aman" userId="S::al58392@ad.wellpoint.com::819efb0e-7d13-4698-9923-01d032afee56" providerId="AD" clId="Web-{3407DFAA-F551-0152-2ED5-EE39A2F085A2}" dt="2025-08-25T10:52:52.883" v="136"/>
        <pc:sldMkLst>
          <pc:docMk/>
          <pc:sldMk cId="3656697541" sldId="474"/>
        </pc:sldMkLst>
      </pc:sldChg>
      <pc:sldChg chg="del">
        <pc:chgData name="Sharma, Aman" userId="S::al58392@ad.wellpoint.com::819efb0e-7d13-4698-9923-01d032afee56" providerId="AD" clId="Web-{3407DFAA-F551-0152-2ED5-EE39A2F085A2}" dt="2025-08-25T10:52:55.430" v="137"/>
        <pc:sldMkLst>
          <pc:docMk/>
          <pc:sldMk cId="736382978" sldId="476"/>
        </pc:sldMkLst>
      </pc:sldChg>
      <pc:sldChg chg="del">
        <pc:chgData name="Sharma, Aman" userId="S::al58392@ad.wellpoint.com::819efb0e-7d13-4698-9923-01d032afee56" providerId="AD" clId="Web-{3407DFAA-F551-0152-2ED5-EE39A2F085A2}" dt="2025-08-25T10:52:56.758" v="138"/>
        <pc:sldMkLst>
          <pc:docMk/>
          <pc:sldMk cId="3842149403" sldId="478"/>
        </pc:sldMkLst>
      </pc:sldChg>
      <pc:sldChg chg="del">
        <pc:chgData name="Sharma, Aman" userId="S::al58392@ad.wellpoint.com::819efb0e-7d13-4698-9923-01d032afee56" providerId="AD" clId="Web-{3407DFAA-F551-0152-2ED5-EE39A2F085A2}" dt="2025-08-25T10:52:59.102" v="141"/>
        <pc:sldMkLst>
          <pc:docMk/>
          <pc:sldMk cId="2553895418" sldId="479"/>
        </pc:sldMkLst>
      </pc:sldChg>
      <pc:sldChg chg="addSp delSp modSp">
        <pc:chgData name="Sharma, Aman" userId="S::al58392@ad.wellpoint.com::819efb0e-7d13-4698-9923-01d032afee56" providerId="AD" clId="Web-{3407DFAA-F551-0152-2ED5-EE39A2F085A2}" dt="2025-08-25T10:55:33.207" v="163" actId="14100"/>
        <pc:sldMkLst>
          <pc:docMk/>
          <pc:sldMk cId="3203667423" sldId="480"/>
        </pc:sldMkLst>
        <pc:spChg chg="mod">
          <ac:chgData name="Sharma, Aman" userId="S::al58392@ad.wellpoint.com::819efb0e-7d13-4698-9923-01d032afee56" providerId="AD" clId="Web-{3407DFAA-F551-0152-2ED5-EE39A2F085A2}" dt="2025-08-25T10:53:49.903" v="145" actId="20577"/>
          <ac:spMkLst>
            <pc:docMk/>
            <pc:sldMk cId="3203667423" sldId="480"/>
            <ac:spMk id="2" creationId="{2653BCF3-2684-44C9-9376-7D3BE4475286}"/>
          </ac:spMkLst>
        </pc:spChg>
        <pc:spChg chg="mod">
          <ac:chgData name="Sharma, Aman" userId="S::al58392@ad.wellpoint.com::819efb0e-7d13-4698-9923-01d032afee56" providerId="AD" clId="Web-{3407DFAA-F551-0152-2ED5-EE39A2F085A2}" dt="2025-08-25T10:55:33.207" v="163" actId="14100"/>
          <ac:spMkLst>
            <pc:docMk/>
            <pc:sldMk cId="3203667423" sldId="480"/>
            <ac:spMk id="3" creationId="{40F72FFD-F0A5-C901-6076-591E3F5213A7}"/>
          </ac:spMkLst>
        </pc:spChg>
        <pc:picChg chg="add del mod">
          <ac:chgData name="Sharma, Aman" userId="S::al58392@ad.wellpoint.com::819efb0e-7d13-4698-9923-01d032afee56" providerId="AD" clId="Web-{3407DFAA-F551-0152-2ED5-EE39A2F085A2}" dt="2025-08-25T10:54:19.171" v="153"/>
          <ac:picMkLst>
            <pc:docMk/>
            <pc:sldMk cId="3203667423" sldId="480"/>
            <ac:picMk id="4" creationId="{3693E313-9027-4858-8410-C12BD81AE1A7}"/>
          </ac:picMkLst>
        </pc:picChg>
      </pc:sldChg>
      <pc:sldChg chg="delSp modSp">
        <pc:chgData name="Sharma, Aman" userId="S::al58392@ad.wellpoint.com::819efb0e-7d13-4698-9923-01d032afee56" providerId="AD" clId="Web-{3407DFAA-F551-0152-2ED5-EE39A2F085A2}" dt="2025-08-25T10:30:10.807" v="36"/>
        <pc:sldMkLst>
          <pc:docMk/>
          <pc:sldMk cId="1805609770" sldId="481"/>
        </pc:sldMkLst>
        <pc:spChg chg="mod">
          <ac:chgData name="Sharma, Aman" userId="S::al58392@ad.wellpoint.com::819efb0e-7d13-4698-9923-01d032afee56" providerId="AD" clId="Web-{3407DFAA-F551-0152-2ED5-EE39A2F085A2}" dt="2025-08-25T10:28:56.051" v="30" actId="20577"/>
          <ac:spMkLst>
            <pc:docMk/>
            <pc:sldMk cId="1805609770" sldId="481"/>
            <ac:spMk id="2" creationId="{8FE5C2D1-B1F4-E755-BD74-A9482A530DBD}"/>
          </ac:spMkLst>
        </pc:spChg>
        <pc:spChg chg="mod">
          <ac:chgData name="Sharma, Aman" userId="S::al58392@ad.wellpoint.com::819efb0e-7d13-4698-9923-01d032afee56" providerId="AD" clId="Web-{3407DFAA-F551-0152-2ED5-EE39A2F085A2}" dt="2025-08-25T10:29:59.790" v="35" actId="20577"/>
          <ac:spMkLst>
            <pc:docMk/>
            <pc:sldMk cId="1805609770" sldId="481"/>
            <ac:spMk id="3" creationId="{AD713396-23CC-8EF9-57D7-9001A2E7DB56}"/>
          </ac:spMkLst>
        </pc:spChg>
        <pc:spChg chg="del">
          <ac:chgData name="Sharma, Aman" userId="S::al58392@ad.wellpoint.com::819efb0e-7d13-4698-9923-01d032afee56" providerId="AD" clId="Web-{3407DFAA-F551-0152-2ED5-EE39A2F085A2}" dt="2025-08-25T10:30:10.807" v="36"/>
          <ac:spMkLst>
            <pc:docMk/>
            <pc:sldMk cId="1805609770" sldId="481"/>
            <ac:spMk id="4" creationId="{20E0A6C1-5FFE-B853-ABCD-B397E5FECACC}"/>
          </ac:spMkLst>
        </pc:spChg>
      </pc:sldChg>
      <pc:sldChg chg="addSp delSp modSp">
        <pc:chgData name="Sharma, Aman" userId="S::al58392@ad.wellpoint.com::819efb0e-7d13-4698-9923-01d032afee56" providerId="AD" clId="Web-{3407DFAA-F551-0152-2ED5-EE39A2F085A2}" dt="2025-08-25T10:37:55.094" v="100" actId="14100"/>
        <pc:sldMkLst>
          <pc:docMk/>
          <pc:sldMk cId="1566295349" sldId="482"/>
        </pc:sldMkLst>
        <pc:spChg chg="mod">
          <ac:chgData name="Sharma, Aman" userId="S::al58392@ad.wellpoint.com::819efb0e-7d13-4698-9923-01d032afee56" providerId="AD" clId="Web-{3407DFAA-F551-0152-2ED5-EE39A2F085A2}" dt="2025-08-25T10:33:03.868" v="63" actId="20577"/>
          <ac:spMkLst>
            <pc:docMk/>
            <pc:sldMk cId="1566295349" sldId="482"/>
            <ac:spMk id="2" creationId="{23EBF5DD-3273-B21A-A7E6-DB76A6C99587}"/>
          </ac:spMkLst>
        </pc:spChg>
        <pc:spChg chg="del mod">
          <ac:chgData name="Sharma, Aman" userId="S::al58392@ad.wellpoint.com::819efb0e-7d13-4698-9923-01d032afee56" providerId="AD" clId="Web-{3407DFAA-F551-0152-2ED5-EE39A2F085A2}" dt="2025-08-25T10:33:10.025" v="65"/>
          <ac:spMkLst>
            <pc:docMk/>
            <pc:sldMk cId="1566295349" sldId="482"/>
            <ac:spMk id="3" creationId="{90900C59-9F1F-5E61-73F7-B65740A46FFA}"/>
          </ac:spMkLst>
        </pc:spChg>
        <pc:spChg chg="add del mod">
          <ac:chgData name="Sharma, Aman" userId="S::al58392@ad.wellpoint.com::819efb0e-7d13-4698-9923-01d032afee56" providerId="AD" clId="Web-{3407DFAA-F551-0152-2ED5-EE39A2F085A2}" dt="2025-08-25T10:33:18.354" v="66"/>
          <ac:spMkLst>
            <pc:docMk/>
            <pc:sldMk cId="1566295349" sldId="482"/>
            <ac:spMk id="5" creationId="{8462909D-E71B-BAED-19A6-21AA8C3E0238}"/>
          </ac:spMkLst>
        </pc:spChg>
        <pc:graphicFrameChg chg="del">
          <ac:chgData name="Sharma, Aman" userId="S::al58392@ad.wellpoint.com::819efb0e-7d13-4698-9923-01d032afee56" providerId="AD" clId="Web-{3407DFAA-F551-0152-2ED5-EE39A2F085A2}" dt="2025-08-25T10:33:21.245" v="67"/>
          <ac:graphicFrameMkLst>
            <pc:docMk/>
            <pc:sldMk cId="1566295349" sldId="482"/>
            <ac:graphicFrameMk id="8" creationId="{368874D5-189E-F6DB-3E49-A852F31A80FC}"/>
          </ac:graphicFrameMkLst>
        </pc:graphicFrameChg>
        <pc:graphicFrameChg chg="add mod modGraphic">
          <ac:chgData name="Sharma, Aman" userId="S::al58392@ad.wellpoint.com::819efb0e-7d13-4698-9923-01d032afee56" providerId="AD" clId="Web-{3407DFAA-F551-0152-2ED5-EE39A2F085A2}" dt="2025-08-25T10:35:09.144" v="81" actId="1076"/>
          <ac:graphicFrameMkLst>
            <pc:docMk/>
            <pc:sldMk cId="1566295349" sldId="482"/>
            <ac:graphicFrameMk id="12" creationId="{F25EDFB1-23C4-D67B-AD2C-8AFCB768037F}"/>
          </ac:graphicFrameMkLst>
        </pc:graphicFrameChg>
        <pc:graphicFrameChg chg="add mod">
          <ac:chgData name="Sharma, Aman" userId="S::al58392@ad.wellpoint.com::819efb0e-7d13-4698-9923-01d032afee56" providerId="AD" clId="Web-{3407DFAA-F551-0152-2ED5-EE39A2F085A2}" dt="2025-08-25T10:35:29.771" v="83" actId="1076"/>
          <ac:graphicFrameMkLst>
            <pc:docMk/>
            <pc:sldMk cId="1566295349" sldId="482"/>
            <ac:graphicFrameMk id="14" creationId="{2A453CF2-0C69-4363-7A16-E5A4646F0118}"/>
          </ac:graphicFrameMkLst>
        </pc:graphicFrameChg>
        <pc:graphicFrameChg chg="add del mod">
          <ac:chgData name="Sharma, Aman" userId="S::al58392@ad.wellpoint.com::819efb0e-7d13-4698-9923-01d032afee56" providerId="AD" clId="Web-{3407DFAA-F551-0152-2ED5-EE39A2F085A2}" dt="2025-08-25T10:36:03.992" v="86"/>
          <ac:graphicFrameMkLst>
            <pc:docMk/>
            <pc:sldMk cId="1566295349" sldId="482"/>
            <ac:graphicFrameMk id="16" creationId="{541B1C02-D785-3014-333C-67575BC1FFD2}"/>
          </ac:graphicFrameMkLst>
        </pc:graphicFrameChg>
        <pc:graphicFrameChg chg="add del mod">
          <ac:chgData name="Sharma, Aman" userId="S::al58392@ad.wellpoint.com::819efb0e-7d13-4698-9923-01d032afee56" providerId="AD" clId="Web-{3407DFAA-F551-0152-2ED5-EE39A2F085A2}" dt="2025-08-25T10:36:13.524" v="88"/>
          <ac:graphicFrameMkLst>
            <pc:docMk/>
            <pc:sldMk cId="1566295349" sldId="482"/>
            <ac:graphicFrameMk id="18" creationId="{3EF6A163-E820-E13C-85C0-7ABFEB97D838}"/>
          </ac:graphicFrameMkLst>
        </pc:graphicFrameChg>
        <pc:graphicFrameChg chg="add mod modGraphic">
          <ac:chgData name="Sharma, Aman" userId="S::al58392@ad.wellpoint.com::819efb0e-7d13-4698-9923-01d032afee56" providerId="AD" clId="Web-{3407DFAA-F551-0152-2ED5-EE39A2F085A2}" dt="2025-08-25T10:37:50.766" v="99"/>
          <ac:graphicFrameMkLst>
            <pc:docMk/>
            <pc:sldMk cId="1566295349" sldId="482"/>
            <ac:graphicFrameMk id="22" creationId="{651B5B95-BAB8-8EE5-EB22-F158F9293FFE}"/>
          </ac:graphicFrameMkLst>
        </pc:graphicFrameChg>
        <pc:picChg chg="add del mod">
          <ac:chgData name="Sharma, Aman" userId="S::al58392@ad.wellpoint.com::819efb0e-7d13-4698-9923-01d032afee56" providerId="AD" clId="Web-{3407DFAA-F551-0152-2ED5-EE39A2F085A2}" dt="2025-08-25T10:33:39.450" v="69"/>
          <ac:picMkLst>
            <pc:docMk/>
            <pc:sldMk cId="1566295349" sldId="482"/>
            <ac:picMk id="6" creationId="{C0AEDCFC-CBC2-FAF1-F3FF-3416508F1EBB}"/>
          </ac:picMkLst>
        </pc:picChg>
        <pc:picChg chg="add del mod">
          <ac:chgData name="Sharma, Aman" userId="S::al58392@ad.wellpoint.com::819efb0e-7d13-4698-9923-01d032afee56" providerId="AD" clId="Web-{3407DFAA-F551-0152-2ED5-EE39A2F085A2}" dt="2025-08-25T10:33:51.169" v="71"/>
          <ac:picMkLst>
            <pc:docMk/>
            <pc:sldMk cId="1566295349" sldId="482"/>
            <ac:picMk id="7" creationId="{62EEF098-B018-8A22-3C25-33B6A031DD0E}"/>
          </ac:picMkLst>
        </pc:picChg>
        <pc:picChg chg="add del mod">
          <ac:chgData name="Sharma, Aman" userId="S::al58392@ad.wellpoint.com::819efb0e-7d13-4698-9923-01d032afee56" providerId="AD" clId="Web-{3407DFAA-F551-0152-2ED5-EE39A2F085A2}" dt="2025-08-25T10:34:17.109" v="75"/>
          <ac:picMkLst>
            <pc:docMk/>
            <pc:sldMk cId="1566295349" sldId="482"/>
            <ac:picMk id="9" creationId="{0490AED3-44EA-2F30-9EA1-32864423B326}"/>
          </ac:picMkLst>
        </pc:picChg>
        <pc:picChg chg="add del mod">
          <ac:chgData name="Sharma, Aman" userId="S::al58392@ad.wellpoint.com::819efb0e-7d13-4698-9923-01d032afee56" providerId="AD" clId="Web-{3407DFAA-F551-0152-2ED5-EE39A2F085A2}" dt="2025-08-25T10:34:27.438" v="77"/>
          <ac:picMkLst>
            <pc:docMk/>
            <pc:sldMk cId="1566295349" sldId="482"/>
            <ac:picMk id="10" creationId="{AF14C4A1-51E4-38EA-433D-4B04CFA98AA0}"/>
          </ac:picMkLst>
        </pc:picChg>
        <pc:picChg chg="add mod">
          <ac:chgData name="Sharma, Aman" userId="S::al58392@ad.wellpoint.com::819efb0e-7d13-4698-9923-01d032afee56" providerId="AD" clId="Web-{3407DFAA-F551-0152-2ED5-EE39A2F085A2}" dt="2025-08-25T10:37:55.094" v="100" actId="14100"/>
          <ac:picMkLst>
            <pc:docMk/>
            <pc:sldMk cId="1566295349" sldId="482"/>
            <ac:picMk id="19" creationId="{33389C4E-8C68-C826-7DF6-A1B35A06FDE8}"/>
          </ac:picMkLst>
        </pc:picChg>
        <pc:picChg chg="add del mod">
          <ac:chgData name="Sharma, Aman" userId="S::al58392@ad.wellpoint.com::819efb0e-7d13-4698-9923-01d032afee56" providerId="AD" clId="Web-{3407DFAA-F551-0152-2ED5-EE39A2F085A2}" dt="2025-08-25T10:36:56.746" v="94"/>
          <ac:picMkLst>
            <pc:docMk/>
            <pc:sldMk cId="1566295349" sldId="482"/>
            <ac:picMk id="20" creationId="{DBC6413C-E4CA-676B-869B-31179FE8D988}"/>
          </ac:picMkLst>
        </pc:picChg>
      </pc:sldChg>
      <pc:sldChg chg="addSp delSp modSp new">
        <pc:chgData name="Sharma, Aman" userId="S::al58392@ad.wellpoint.com::819efb0e-7d13-4698-9923-01d032afee56" providerId="AD" clId="Web-{3407DFAA-F551-0152-2ED5-EE39A2F085A2}" dt="2025-08-25T10:56:27.118" v="171" actId="14100"/>
        <pc:sldMkLst>
          <pc:docMk/>
          <pc:sldMk cId="1127607843" sldId="483"/>
        </pc:sldMkLst>
        <pc:spChg chg="mod">
          <ac:chgData name="Sharma, Aman" userId="S::al58392@ad.wellpoint.com::819efb0e-7d13-4698-9923-01d032afee56" providerId="AD" clId="Web-{3407DFAA-F551-0152-2ED5-EE39A2F085A2}" dt="2025-08-25T10:56:10.507" v="168" actId="20577"/>
          <ac:spMkLst>
            <pc:docMk/>
            <pc:sldMk cId="1127607843" sldId="483"/>
            <ac:spMk id="2" creationId="{C4F4B160-6DD0-7582-1838-508C09BCD17A}"/>
          </ac:spMkLst>
        </pc:spChg>
        <pc:spChg chg="del">
          <ac:chgData name="Sharma, Aman" userId="S::al58392@ad.wellpoint.com::819efb0e-7d13-4698-9923-01d032afee56" providerId="AD" clId="Web-{3407DFAA-F551-0152-2ED5-EE39A2F085A2}" dt="2025-08-25T10:56:12.226" v="169"/>
          <ac:spMkLst>
            <pc:docMk/>
            <pc:sldMk cId="1127607843" sldId="483"/>
            <ac:spMk id="3" creationId="{1E2F57DA-B9C2-09BB-343B-0BFFC048E3DB}"/>
          </ac:spMkLst>
        </pc:spChg>
        <pc:picChg chg="add mod ord">
          <ac:chgData name="Sharma, Aman" userId="S::al58392@ad.wellpoint.com::819efb0e-7d13-4698-9923-01d032afee56" providerId="AD" clId="Web-{3407DFAA-F551-0152-2ED5-EE39A2F085A2}" dt="2025-08-25T10:56:27.118" v="171" actId="14100"/>
          <ac:picMkLst>
            <pc:docMk/>
            <pc:sldMk cId="1127607843" sldId="483"/>
            <ac:picMk id="5" creationId="{B497432C-FA57-6330-1B37-119C8D9A122E}"/>
          </ac:picMkLst>
        </pc:picChg>
      </pc:sldChg>
      <pc:sldChg chg="del">
        <pc:chgData name="Sharma, Aman" userId="S::al58392@ad.wellpoint.com::819efb0e-7d13-4698-9923-01d032afee56" providerId="AD" clId="Web-{3407DFAA-F551-0152-2ED5-EE39A2F085A2}" dt="2025-08-25T10:52:57.664" v="139"/>
        <pc:sldMkLst>
          <pc:docMk/>
          <pc:sldMk cId="3695154592" sldId="483"/>
        </pc:sldMkLst>
      </pc:sldChg>
      <pc:sldChg chg="addSp delSp modSp new">
        <pc:chgData name="Sharma, Aman" userId="S::al58392@ad.wellpoint.com::819efb0e-7d13-4698-9923-01d032afee56" providerId="AD" clId="Web-{3407DFAA-F551-0152-2ED5-EE39A2F085A2}" dt="2025-08-25T10:57:56.624" v="177" actId="14100"/>
        <pc:sldMkLst>
          <pc:docMk/>
          <pc:sldMk cId="779051503" sldId="484"/>
        </pc:sldMkLst>
        <pc:spChg chg="mod">
          <ac:chgData name="Sharma, Aman" userId="S::al58392@ad.wellpoint.com::819efb0e-7d13-4698-9923-01d032afee56" providerId="AD" clId="Web-{3407DFAA-F551-0152-2ED5-EE39A2F085A2}" dt="2025-08-25T10:57:23.700" v="174" actId="20577"/>
          <ac:spMkLst>
            <pc:docMk/>
            <pc:sldMk cId="779051503" sldId="484"/>
            <ac:spMk id="2" creationId="{2F25A7F6-8905-6B53-378D-8B1CD7A384B1}"/>
          </ac:spMkLst>
        </pc:spChg>
        <pc:spChg chg="del">
          <ac:chgData name="Sharma, Aman" userId="S::al58392@ad.wellpoint.com::819efb0e-7d13-4698-9923-01d032afee56" providerId="AD" clId="Web-{3407DFAA-F551-0152-2ED5-EE39A2F085A2}" dt="2025-08-25T10:57:45.936" v="175"/>
          <ac:spMkLst>
            <pc:docMk/>
            <pc:sldMk cId="779051503" sldId="484"/>
            <ac:spMk id="3" creationId="{1C94F517-E8B8-CEB5-4815-39437DF02674}"/>
          </ac:spMkLst>
        </pc:spChg>
        <pc:picChg chg="add mod ord">
          <ac:chgData name="Sharma, Aman" userId="S::al58392@ad.wellpoint.com::819efb0e-7d13-4698-9923-01d032afee56" providerId="AD" clId="Web-{3407DFAA-F551-0152-2ED5-EE39A2F085A2}" dt="2025-08-25T10:57:56.624" v="177" actId="14100"/>
          <ac:picMkLst>
            <pc:docMk/>
            <pc:sldMk cId="779051503" sldId="484"/>
            <ac:picMk id="5" creationId="{541455C8-F8A6-FCAA-F073-307D1C2F104D}"/>
          </ac:picMkLst>
        </pc:picChg>
      </pc:sldChg>
      <pc:sldChg chg="del">
        <pc:chgData name="Sharma, Aman" userId="S::al58392@ad.wellpoint.com::819efb0e-7d13-4698-9923-01d032afee56" providerId="AD" clId="Web-{3407DFAA-F551-0152-2ED5-EE39A2F085A2}" dt="2025-08-25T10:52:58.727" v="140"/>
        <pc:sldMkLst>
          <pc:docMk/>
          <pc:sldMk cId="1464147314" sldId="484"/>
        </pc:sldMkLst>
      </pc:sldChg>
      <pc:sldChg chg="del">
        <pc:chgData name="Sharma, Aman" userId="S::al58392@ad.wellpoint.com::819efb0e-7d13-4698-9923-01d032afee56" providerId="AD" clId="Web-{3407DFAA-F551-0152-2ED5-EE39A2F085A2}" dt="2025-08-25T10:52:59.602" v="142"/>
        <pc:sldMkLst>
          <pc:docMk/>
          <pc:sldMk cId="1711242263" sldId="485"/>
        </pc:sldMkLst>
      </pc:sldChg>
      <pc:sldChg chg="del">
        <pc:chgData name="Sharma, Aman" userId="S::al58392@ad.wellpoint.com::819efb0e-7d13-4698-9923-01d032afee56" providerId="AD" clId="Web-{3407DFAA-F551-0152-2ED5-EE39A2F085A2}" dt="2025-08-25T10:53:01.055" v="143"/>
        <pc:sldMkLst>
          <pc:docMk/>
          <pc:sldMk cId="1840358710" sldId="486"/>
        </pc:sldMkLst>
      </pc:sldChg>
    </pc:docChg>
  </pc:docChgLst>
  <pc:docChgLst>
    <pc:chgData name="C.M, Roja" userId="3f7d0bc6-dbf6-4d6f-a169-d6fed478b298" providerId="ADAL" clId="{00A98EE2-FA7B-4911-9919-AD3E8543634F}"/>
    <pc:docChg chg="delSld">
      <pc:chgData name="C.M, Roja" userId="3f7d0bc6-dbf6-4d6f-a169-d6fed478b298" providerId="ADAL" clId="{00A98EE2-FA7B-4911-9919-AD3E8543634F}" dt="2024-11-14T11:53:01.324" v="31" actId="47"/>
      <pc:docMkLst>
        <pc:docMk/>
      </pc:docMkLst>
      <pc:sldChg chg="del">
        <pc:chgData name="C.M, Roja" userId="3f7d0bc6-dbf6-4d6f-a169-d6fed478b298" providerId="ADAL" clId="{00A98EE2-FA7B-4911-9919-AD3E8543634F}" dt="2024-11-14T11:52:54.794" v="17" actId="47"/>
        <pc:sldMkLst>
          <pc:docMk/>
          <pc:sldMk cId="1241199703" sldId="488"/>
        </pc:sldMkLst>
      </pc:sldChg>
      <pc:sldChg chg="del">
        <pc:chgData name="C.M, Roja" userId="3f7d0bc6-dbf6-4d6f-a169-d6fed478b298" providerId="ADAL" clId="{00A98EE2-FA7B-4911-9919-AD3E8543634F}" dt="2024-11-14T11:52:54.951" v="18" actId="47"/>
        <pc:sldMkLst>
          <pc:docMk/>
          <pc:sldMk cId="1630711564" sldId="490"/>
        </pc:sldMkLst>
      </pc:sldChg>
      <pc:sldChg chg="del">
        <pc:chgData name="C.M, Roja" userId="3f7d0bc6-dbf6-4d6f-a169-d6fed478b298" providerId="ADAL" clId="{00A98EE2-FA7B-4911-9919-AD3E8543634F}" dt="2024-11-14T11:52:37.891" v="1" actId="47"/>
        <pc:sldMkLst>
          <pc:docMk/>
          <pc:sldMk cId="1391421164" sldId="492"/>
        </pc:sldMkLst>
      </pc:sldChg>
      <pc:sldChg chg="del">
        <pc:chgData name="C.M, Roja" userId="3f7d0bc6-dbf6-4d6f-a169-d6fed478b298" providerId="ADAL" clId="{00A98EE2-FA7B-4911-9919-AD3E8543634F}" dt="2024-11-14T11:52:51.084" v="8" actId="47"/>
        <pc:sldMkLst>
          <pc:docMk/>
          <pc:sldMk cId="1517233518" sldId="494"/>
        </pc:sldMkLst>
      </pc:sldChg>
      <pc:sldChg chg="del">
        <pc:chgData name="C.M, Roja" userId="3f7d0bc6-dbf6-4d6f-a169-d6fed478b298" providerId="ADAL" clId="{00A98EE2-FA7B-4911-9919-AD3E8543634F}" dt="2024-11-14T11:52:52.829" v="9" actId="47"/>
        <pc:sldMkLst>
          <pc:docMk/>
          <pc:sldMk cId="349993756" sldId="495"/>
        </pc:sldMkLst>
      </pc:sldChg>
      <pc:sldChg chg="del">
        <pc:chgData name="C.M, Roja" userId="3f7d0bc6-dbf6-4d6f-a169-d6fed478b298" providerId="ADAL" clId="{00A98EE2-FA7B-4911-9919-AD3E8543634F}" dt="2024-11-14T11:52:55.061" v="19" actId="47"/>
        <pc:sldMkLst>
          <pc:docMk/>
          <pc:sldMk cId="4099221226" sldId="496"/>
        </pc:sldMkLst>
      </pc:sldChg>
      <pc:sldChg chg="del">
        <pc:chgData name="C.M, Roja" userId="3f7d0bc6-dbf6-4d6f-a169-d6fed478b298" providerId="ADAL" clId="{00A98EE2-FA7B-4911-9919-AD3E8543634F}" dt="2024-11-14T11:52:55.233" v="20" actId="47"/>
        <pc:sldMkLst>
          <pc:docMk/>
          <pc:sldMk cId="2509425644" sldId="497"/>
        </pc:sldMkLst>
      </pc:sldChg>
      <pc:sldChg chg="del">
        <pc:chgData name="C.M, Roja" userId="3f7d0bc6-dbf6-4d6f-a169-d6fed478b298" providerId="ADAL" clId="{00A98EE2-FA7B-4911-9919-AD3E8543634F}" dt="2024-11-14T11:52:55.909" v="21" actId="47"/>
        <pc:sldMkLst>
          <pc:docMk/>
          <pc:sldMk cId="3670604289" sldId="498"/>
        </pc:sldMkLst>
      </pc:sldChg>
      <pc:sldChg chg="del">
        <pc:chgData name="C.M, Roja" userId="3f7d0bc6-dbf6-4d6f-a169-d6fed478b298" providerId="ADAL" clId="{00A98EE2-FA7B-4911-9919-AD3E8543634F}" dt="2024-11-14T11:52:53.111" v="10" actId="47"/>
        <pc:sldMkLst>
          <pc:docMk/>
          <pc:sldMk cId="2682404902" sldId="499"/>
        </pc:sldMkLst>
      </pc:sldChg>
      <pc:sldChg chg="del">
        <pc:chgData name="C.M, Roja" userId="3f7d0bc6-dbf6-4d6f-a169-d6fed478b298" providerId="ADAL" clId="{00A98EE2-FA7B-4911-9919-AD3E8543634F}" dt="2024-11-14T11:52:49.070" v="7" actId="47"/>
        <pc:sldMkLst>
          <pc:docMk/>
          <pc:sldMk cId="3755771359" sldId="500"/>
        </pc:sldMkLst>
      </pc:sldChg>
      <pc:sldChg chg="del">
        <pc:chgData name="C.M, Roja" userId="3f7d0bc6-dbf6-4d6f-a169-d6fed478b298" providerId="ADAL" clId="{00A98EE2-FA7B-4911-9919-AD3E8543634F}" dt="2024-11-14T11:52:54.042" v="13" actId="47"/>
        <pc:sldMkLst>
          <pc:docMk/>
          <pc:sldMk cId="1586127184" sldId="501"/>
        </pc:sldMkLst>
      </pc:sldChg>
      <pc:sldChg chg="del">
        <pc:chgData name="C.M, Roja" userId="3f7d0bc6-dbf6-4d6f-a169-d6fed478b298" providerId="ADAL" clId="{00A98EE2-FA7B-4911-9919-AD3E8543634F}" dt="2024-11-14T11:52:53.585" v="11" actId="47"/>
        <pc:sldMkLst>
          <pc:docMk/>
          <pc:sldMk cId="2104016211" sldId="502"/>
        </pc:sldMkLst>
      </pc:sldChg>
      <pc:sldChg chg="del">
        <pc:chgData name="C.M, Roja" userId="3f7d0bc6-dbf6-4d6f-a169-d6fed478b298" providerId="ADAL" clId="{00A98EE2-FA7B-4911-9919-AD3E8543634F}" dt="2024-11-14T11:52:53.821" v="12" actId="47"/>
        <pc:sldMkLst>
          <pc:docMk/>
          <pc:sldMk cId="1295995000" sldId="503"/>
        </pc:sldMkLst>
      </pc:sldChg>
      <pc:sldChg chg="del">
        <pc:chgData name="C.M, Roja" userId="3f7d0bc6-dbf6-4d6f-a169-d6fed478b298" providerId="ADAL" clId="{00A98EE2-FA7B-4911-9919-AD3E8543634F}" dt="2024-11-14T11:52:56.034" v="22" actId="47"/>
        <pc:sldMkLst>
          <pc:docMk/>
          <pc:sldMk cId="2692952276" sldId="504"/>
        </pc:sldMkLst>
      </pc:sldChg>
      <pc:sldChg chg="del">
        <pc:chgData name="C.M, Roja" userId="3f7d0bc6-dbf6-4d6f-a169-d6fed478b298" providerId="ADAL" clId="{00A98EE2-FA7B-4911-9919-AD3E8543634F}" dt="2024-11-14T11:52:37.672" v="0" actId="47"/>
        <pc:sldMkLst>
          <pc:docMk/>
          <pc:sldMk cId="1778927091" sldId="505"/>
        </pc:sldMkLst>
      </pc:sldChg>
      <pc:sldChg chg="del">
        <pc:chgData name="C.M, Roja" userId="3f7d0bc6-dbf6-4d6f-a169-d6fed478b298" providerId="ADAL" clId="{00A98EE2-FA7B-4911-9919-AD3E8543634F}" dt="2024-11-14T11:52:54.261" v="14" actId="47"/>
        <pc:sldMkLst>
          <pc:docMk/>
          <pc:sldMk cId="91750246" sldId="507"/>
        </pc:sldMkLst>
      </pc:sldChg>
      <pc:sldChg chg="del">
        <pc:chgData name="C.M, Roja" userId="3f7d0bc6-dbf6-4d6f-a169-d6fed478b298" providerId="ADAL" clId="{00A98EE2-FA7B-4911-9919-AD3E8543634F}" dt="2024-11-14T11:52:39.215" v="2" actId="47"/>
        <pc:sldMkLst>
          <pc:docMk/>
          <pc:sldMk cId="3418295551" sldId="508"/>
        </pc:sldMkLst>
      </pc:sldChg>
      <pc:sldChg chg="del">
        <pc:chgData name="C.M, Roja" userId="3f7d0bc6-dbf6-4d6f-a169-d6fed478b298" providerId="ADAL" clId="{00A98EE2-FA7B-4911-9919-AD3E8543634F}" dt="2024-11-14T11:52:54.589" v="16" actId="47"/>
        <pc:sldMkLst>
          <pc:docMk/>
          <pc:sldMk cId="1929583867" sldId="509"/>
        </pc:sldMkLst>
      </pc:sldChg>
      <pc:sldChg chg="del">
        <pc:chgData name="C.M, Roja" userId="3f7d0bc6-dbf6-4d6f-a169-d6fed478b298" providerId="ADAL" clId="{00A98EE2-FA7B-4911-9919-AD3E8543634F}" dt="2024-11-14T11:52:54.417" v="15" actId="47"/>
        <pc:sldMkLst>
          <pc:docMk/>
          <pc:sldMk cId="3670066245" sldId="510"/>
        </pc:sldMkLst>
      </pc:sldChg>
      <pc:sldChg chg="del">
        <pc:chgData name="C.M, Roja" userId="3f7d0bc6-dbf6-4d6f-a169-d6fed478b298" providerId="ADAL" clId="{00A98EE2-FA7B-4911-9919-AD3E8543634F}" dt="2024-11-14T11:52:39.765" v="3" actId="47"/>
        <pc:sldMkLst>
          <pc:docMk/>
          <pc:sldMk cId="902809411" sldId="513"/>
        </pc:sldMkLst>
      </pc:sldChg>
      <pc:sldChg chg="del">
        <pc:chgData name="C.M, Roja" userId="3f7d0bc6-dbf6-4d6f-a169-d6fed478b298" providerId="ADAL" clId="{00A98EE2-FA7B-4911-9919-AD3E8543634F}" dt="2024-11-14T11:52:40.095" v="4" actId="47"/>
        <pc:sldMkLst>
          <pc:docMk/>
          <pc:sldMk cId="2888064988" sldId="514"/>
        </pc:sldMkLst>
      </pc:sldChg>
      <pc:sldChg chg="del">
        <pc:chgData name="C.M, Roja" userId="3f7d0bc6-dbf6-4d6f-a169-d6fed478b298" providerId="ADAL" clId="{00A98EE2-FA7B-4911-9919-AD3E8543634F}" dt="2024-11-14T11:52:40.582" v="5" actId="47"/>
        <pc:sldMkLst>
          <pc:docMk/>
          <pc:sldMk cId="1986990956" sldId="515"/>
        </pc:sldMkLst>
      </pc:sldChg>
      <pc:sldChg chg="del">
        <pc:chgData name="C.M, Roja" userId="3f7d0bc6-dbf6-4d6f-a169-d6fed478b298" providerId="ADAL" clId="{00A98EE2-FA7B-4911-9919-AD3E8543634F}" dt="2024-11-14T11:52:42.846" v="6" actId="47"/>
        <pc:sldMkLst>
          <pc:docMk/>
          <pc:sldMk cId="1526422383" sldId="516"/>
        </pc:sldMkLst>
      </pc:sldChg>
      <pc:sldChg chg="del">
        <pc:chgData name="C.M, Roja" userId="3f7d0bc6-dbf6-4d6f-a169-d6fed478b298" providerId="ADAL" clId="{00A98EE2-FA7B-4911-9919-AD3E8543634F}" dt="2024-11-14T11:52:56.176" v="23" actId="47"/>
        <pc:sldMkLst>
          <pc:docMk/>
          <pc:sldMk cId="3880248519" sldId="517"/>
        </pc:sldMkLst>
      </pc:sldChg>
      <pc:sldChg chg="del">
        <pc:chgData name="C.M, Roja" userId="3f7d0bc6-dbf6-4d6f-a169-d6fed478b298" providerId="ADAL" clId="{00A98EE2-FA7B-4911-9919-AD3E8543634F}" dt="2024-11-14T11:52:56.491" v="24" actId="47"/>
        <pc:sldMkLst>
          <pc:docMk/>
          <pc:sldMk cId="4014778839" sldId="518"/>
        </pc:sldMkLst>
      </pc:sldChg>
      <pc:sldChg chg="del">
        <pc:chgData name="C.M, Roja" userId="3f7d0bc6-dbf6-4d6f-a169-d6fed478b298" providerId="ADAL" clId="{00A98EE2-FA7B-4911-9919-AD3E8543634F}" dt="2024-11-14T11:52:56.774" v="25" actId="47"/>
        <pc:sldMkLst>
          <pc:docMk/>
          <pc:sldMk cId="129630916" sldId="519"/>
        </pc:sldMkLst>
      </pc:sldChg>
      <pc:sldChg chg="del">
        <pc:chgData name="C.M, Roja" userId="3f7d0bc6-dbf6-4d6f-a169-d6fed478b298" providerId="ADAL" clId="{00A98EE2-FA7B-4911-9919-AD3E8543634F}" dt="2024-11-14T11:52:56.978" v="26" actId="47"/>
        <pc:sldMkLst>
          <pc:docMk/>
          <pc:sldMk cId="1935137611" sldId="520"/>
        </pc:sldMkLst>
      </pc:sldChg>
      <pc:sldChg chg="del">
        <pc:chgData name="C.M, Roja" userId="3f7d0bc6-dbf6-4d6f-a169-d6fed478b298" providerId="ADAL" clId="{00A98EE2-FA7B-4911-9919-AD3E8543634F}" dt="2024-11-14T11:52:57.166" v="27" actId="47"/>
        <pc:sldMkLst>
          <pc:docMk/>
          <pc:sldMk cId="1909914911" sldId="521"/>
        </pc:sldMkLst>
      </pc:sldChg>
      <pc:sldChg chg="del">
        <pc:chgData name="C.M, Roja" userId="3f7d0bc6-dbf6-4d6f-a169-d6fed478b298" providerId="ADAL" clId="{00A98EE2-FA7B-4911-9919-AD3E8543634F}" dt="2024-11-14T11:52:57.402" v="28" actId="47"/>
        <pc:sldMkLst>
          <pc:docMk/>
          <pc:sldMk cId="723761027" sldId="522"/>
        </pc:sldMkLst>
      </pc:sldChg>
      <pc:sldChg chg="del">
        <pc:chgData name="C.M, Roja" userId="3f7d0bc6-dbf6-4d6f-a169-d6fed478b298" providerId="ADAL" clId="{00A98EE2-FA7B-4911-9919-AD3E8543634F}" dt="2024-11-14T11:52:57.686" v="29" actId="47"/>
        <pc:sldMkLst>
          <pc:docMk/>
          <pc:sldMk cId="3634675227" sldId="523"/>
        </pc:sldMkLst>
      </pc:sldChg>
      <pc:sldChg chg="del">
        <pc:chgData name="C.M, Roja" userId="3f7d0bc6-dbf6-4d6f-a169-d6fed478b298" providerId="ADAL" clId="{00A98EE2-FA7B-4911-9919-AD3E8543634F}" dt="2024-11-14T11:52:58.031" v="30" actId="47"/>
        <pc:sldMkLst>
          <pc:docMk/>
          <pc:sldMk cId="3849832781" sldId="524"/>
        </pc:sldMkLst>
      </pc:sldChg>
      <pc:sldChg chg="del">
        <pc:chgData name="C.M, Roja" userId="3f7d0bc6-dbf6-4d6f-a169-d6fed478b298" providerId="ADAL" clId="{00A98EE2-FA7B-4911-9919-AD3E8543634F}" dt="2024-11-14T11:53:01.324" v="31" actId="47"/>
        <pc:sldMkLst>
          <pc:docMk/>
          <pc:sldMk cId="2734602853" sldId="525"/>
        </pc:sldMkLst>
      </pc:sldChg>
    </pc:docChg>
  </pc:docChgLst>
  <pc:docChgLst>
    <pc:chgData name="Roja" userId="3f7d0bc6-dbf6-4d6f-a169-d6fed478b298" providerId="ADAL" clId="{433777DD-36E3-4B34-8224-1BC3743E0991}"/>
    <pc:docChg chg="undo custSel addSld modSld">
      <pc:chgData name="Roja" userId="3f7d0bc6-dbf6-4d6f-a169-d6fed478b298" providerId="ADAL" clId="{433777DD-36E3-4B34-8224-1BC3743E0991}" dt="2024-08-30T14:46:43.442" v="189" actId="20577"/>
      <pc:docMkLst>
        <pc:docMk/>
      </pc:docMkLst>
      <pc:sldChg chg="modSp mod">
        <pc:chgData name="Roja" userId="3f7d0bc6-dbf6-4d6f-a169-d6fed478b298" providerId="ADAL" clId="{433777DD-36E3-4B34-8224-1BC3743E0991}" dt="2024-08-30T14:46:43.442" v="189" actId="20577"/>
        <pc:sldMkLst>
          <pc:docMk/>
          <pc:sldMk cId="2830994021" sldId="469"/>
        </pc:sldMkLst>
      </pc:sldChg>
      <pc:sldChg chg="addSp delSp modSp new mod">
        <pc:chgData name="Roja" userId="3f7d0bc6-dbf6-4d6f-a169-d6fed478b298" providerId="ADAL" clId="{433777DD-36E3-4B34-8224-1BC3743E0991}" dt="2024-08-30T13:45:39.882" v="165" actId="20577"/>
        <pc:sldMkLst>
          <pc:docMk/>
          <pc:sldMk cId="1711242263" sldId="485"/>
        </pc:sldMkLst>
      </pc:sldChg>
      <pc:sldChg chg="addSp delSp modSp new mod">
        <pc:chgData name="Roja" userId="3f7d0bc6-dbf6-4d6f-a169-d6fed478b298" providerId="ADAL" clId="{433777DD-36E3-4B34-8224-1BC3743E0991}" dt="2024-08-30T13:45:51.227" v="169" actId="20577"/>
        <pc:sldMkLst>
          <pc:docMk/>
          <pc:sldMk cId="1840358710" sldId="486"/>
        </pc:sldMkLst>
      </pc:sldChg>
    </pc:docChg>
  </pc:docChgLst>
  <pc:docChgLst>
    <pc:chgData clId="Web-{3407DFAA-F551-0152-2ED5-EE39A2F085A2}"/>
    <pc:docChg chg="modSld">
      <pc:chgData name="" userId="" providerId="" clId="Web-{3407DFAA-F551-0152-2ED5-EE39A2F085A2}" dt="2025-08-25T09:22:04.432" v="0" actId="14100"/>
      <pc:docMkLst>
        <pc:docMk/>
      </pc:docMkLst>
      <pc:sldChg chg="modSp">
        <pc:chgData name="" userId="" providerId="" clId="Web-{3407DFAA-F551-0152-2ED5-EE39A2F085A2}" dt="2025-08-25T09:22:04.432" v="0" actId="14100"/>
        <pc:sldMkLst>
          <pc:docMk/>
          <pc:sldMk cId="3128460175" sldId="414"/>
        </pc:sldMkLst>
        <pc:spChg chg="mod">
          <ac:chgData name="" userId="" providerId="" clId="Web-{3407DFAA-F551-0152-2ED5-EE39A2F085A2}" dt="2025-08-25T09:22:04.432" v="0" actId="14100"/>
          <ac:spMkLst>
            <pc:docMk/>
            <pc:sldMk cId="3128460175" sldId="414"/>
            <ac:spMk id="7" creationId="{80A0F69B-72CA-54A1-0AA6-BD3C0E24AB3C}"/>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Elevance Sans" pitchFamily="2" charset="77"/>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Elevance Sans" pitchFamily="2" charset="77"/>
              </a:defRPr>
            </a:lvl1pPr>
          </a:lstStyle>
          <a:p>
            <a:fld id="{40C36D6C-D64D-5C49-BA05-1247137E2D8B}" type="datetimeFigureOut">
              <a:rPr lang="en-US" smtClean="0"/>
              <a:pPr/>
              <a:t>8/25/2025</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Elevance Sans" pitchFamily="2" charset="77"/>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Elevance Sans" pitchFamily="2" charset="77"/>
              </a:defRPr>
            </a:lvl1pPr>
          </a:lstStyle>
          <a:p>
            <a:fld id="{FF050AAF-C99E-5E47-BF9E-3FBCE85A751F}" type="slidenum">
              <a:rPr lang="en-US" smtClean="0"/>
              <a:pPr/>
              <a:t>‹#›</a:t>
            </a:fld>
            <a:endParaRPr lang="en-US" dirty="0"/>
          </a:p>
        </p:txBody>
      </p:sp>
    </p:spTree>
    <p:extLst>
      <p:ext uri="{BB962C8B-B14F-4D97-AF65-F5344CB8AC3E}">
        <p14:creationId xmlns:p14="http://schemas.microsoft.com/office/powerpoint/2010/main" val="4186845624"/>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Elevance Sans" pitchFamily="2" charset="77"/>
        <a:ea typeface="+mn-ea"/>
        <a:cs typeface="+mn-cs"/>
      </a:defRPr>
    </a:lvl1pPr>
    <a:lvl2pPr marL="457200" algn="l" defTabSz="914400" rtl="0" eaLnBrk="1" latinLnBrk="0" hangingPunct="1">
      <a:defRPr sz="1200" b="0" i="0" kern="1200">
        <a:solidFill>
          <a:schemeClr val="tx1"/>
        </a:solidFill>
        <a:latin typeface="Elevance Sans" pitchFamily="2" charset="77"/>
        <a:ea typeface="+mn-ea"/>
        <a:cs typeface="+mn-cs"/>
      </a:defRPr>
    </a:lvl2pPr>
    <a:lvl3pPr marL="914400" algn="l" defTabSz="914400" rtl="0" eaLnBrk="1" latinLnBrk="0" hangingPunct="1">
      <a:defRPr sz="1200" b="0" i="0" kern="1200">
        <a:solidFill>
          <a:schemeClr val="tx1"/>
        </a:solidFill>
        <a:latin typeface="Elevance Sans" pitchFamily="2" charset="77"/>
        <a:ea typeface="+mn-ea"/>
        <a:cs typeface="+mn-cs"/>
      </a:defRPr>
    </a:lvl3pPr>
    <a:lvl4pPr marL="1371600" algn="l" defTabSz="914400" rtl="0" eaLnBrk="1" latinLnBrk="0" hangingPunct="1">
      <a:defRPr sz="1200" b="0" i="0" kern="1200">
        <a:solidFill>
          <a:schemeClr val="tx1"/>
        </a:solidFill>
        <a:latin typeface="Elevance Sans" pitchFamily="2" charset="77"/>
        <a:ea typeface="+mn-ea"/>
        <a:cs typeface="+mn-cs"/>
      </a:defRPr>
    </a:lvl4pPr>
    <a:lvl5pPr marL="1828800" algn="l" defTabSz="914400" rtl="0" eaLnBrk="1" latinLnBrk="0" hangingPunct="1">
      <a:defRPr sz="1200" b="0" i="0" kern="1200">
        <a:solidFill>
          <a:schemeClr val="tx1"/>
        </a:solidFill>
        <a:latin typeface="Elevance Sans" pitchFamily="2"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F050AAF-C99E-5E47-BF9E-3FBCE85A751F}" type="slidenum">
              <a:rPr lang="en-US" smtClean="0"/>
              <a:pPr/>
              <a:t>3</a:t>
            </a:fld>
            <a:endParaRPr lang="en-US" dirty="0"/>
          </a:p>
        </p:txBody>
      </p:sp>
    </p:spTree>
    <p:extLst>
      <p:ext uri="{BB962C8B-B14F-4D97-AF65-F5344CB8AC3E}">
        <p14:creationId xmlns:p14="http://schemas.microsoft.com/office/powerpoint/2010/main" val="22764280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F050AAF-C99E-5E47-BF9E-3FBCE85A751F}" type="slidenum">
              <a:rPr lang="en-US" smtClean="0"/>
              <a:pPr/>
              <a:t>4</a:t>
            </a:fld>
            <a:endParaRPr lang="en-US" dirty="0"/>
          </a:p>
        </p:txBody>
      </p:sp>
    </p:spTree>
    <p:extLst>
      <p:ext uri="{BB962C8B-B14F-4D97-AF65-F5344CB8AC3E}">
        <p14:creationId xmlns:p14="http://schemas.microsoft.com/office/powerpoint/2010/main" val="5142662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US" dirty="0">
                <a:effectLst/>
              </a:rPr>
            </a:br>
            <a:endParaRPr lang="en-US" dirty="0"/>
          </a:p>
        </p:txBody>
      </p:sp>
      <p:sp>
        <p:nvSpPr>
          <p:cNvPr id="4" name="Slide Number Placeholder 3"/>
          <p:cNvSpPr>
            <a:spLocks noGrp="1"/>
          </p:cNvSpPr>
          <p:nvPr>
            <p:ph type="sldNum" sz="quarter" idx="5"/>
          </p:nvPr>
        </p:nvSpPr>
        <p:spPr/>
        <p:txBody>
          <a:bodyPr/>
          <a:lstStyle/>
          <a:p>
            <a:fld id="{FF050AAF-C99E-5E47-BF9E-3FBCE85A751F}" type="slidenum">
              <a:rPr lang="en-US" smtClean="0"/>
              <a:pPr/>
              <a:t>6</a:t>
            </a:fld>
            <a:endParaRPr lang="en-US" dirty="0"/>
          </a:p>
        </p:txBody>
      </p:sp>
    </p:spTree>
    <p:extLst>
      <p:ext uri="{BB962C8B-B14F-4D97-AF65-F5344CB8AC3E}">
        <p14:creationId xmlns:p14="http://schemas.microsoft.com/office/powerpoint/2010/main" val="23450553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The different combination of input features that are used for modelling.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2.</a:t>
            </a:r>
            <a:r>
              <a:rPr lang="en-US" b="0" i="0" dirty="0">
                <a:solidFill>
                  <a:srgbClr val="3D3929"/>
                </a:solidFill>
                <a:effectLst/>
                <a:highlight>
                  <a:srgbClr val="F0EEE5"/>
                </a:highlight>
                <a:latin typeface="__styreneB_5d855b"/>
              </a:rPr>
              <a:t> The pattern for the IHAN models with digits in their name is like so </a:t>
            </a:r>
            <a:r>
              <a:rPr lang="en-US" dirty="0"/>
              <a:t>The first digit in the IHAN model name represents the number of codes used as input features, The second digit represents whether the lab pair (revenue code) is used or not: 0 indicates the lab pair is not used. The third digit represents whether the static features, namely age etc.</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FF050AAF-C99E-5E47-BF9E-3FBCE85A751F}" type="slidenum">
              <a:rPr lang="en-US" smtClean="0"/>
              <a:pPr/>
              <a:t>7</a:t>
            </a:fld>
            <a:endParaRPr lang="en-US" dirty="0"/>
          </a:p>
        </p:txBody>
      </p:sp>
    </p:spTree>
    <p:extLst>
      <p:ext uri="{BB962C8B-B14F-4D97-AF65-F5344CB8AC3E}">
        <p14:creationId xmlns:p14="http://schemas.microsoft.com/office/powerpoint/2010/main" val="10553765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ighlight>
                  <a:srgbClr val="FFFF00"/>
                </a:highlight>
              </a:rPr>
              <a:t>past 24 months countback from the delivery date – </a:t>
            </a:r>
            <a:r>
              <a:rPr lang="en-US">
                <a:highlight>
                  <a:srgbClr val="FFFF00"/>
                </a:highlight>
              </a:rPr>
              <a:t>input features ?</a:t>
            </a:r>
          </a:p>
          <a:p>
            <a:endParaRPr lang="en-US">
              <a:highlight>
                <a:srgbClr val="FFFF00"/>
              </a:highlight>
            </a:endParaRPr>
          </a:p>
          <a:p>
            <a:endParaRPr lang="en-US" dirty="0"/>
          </a:p>
        </p:txBody>
      </p:sp>
      <p:sp>
        <p:nvSpPr>
          <p:cNvPr id="4" name="Slide Number Placeholder 3"/>
          <p:cNvSpPr>
            <a:spLocks noGrp="1"/>
          </p:cNvSpPr>
          <p:nvPr>
            <p:ph type="sldNum" sz="quarter" idx="5"/>
          </p:nvPr>
        </p:nvSpPr>
        <p:spPr/>
        <p:txBody>
          <a:bodyPr/>
          <a:lstStyle/>
          <a:p>
            <a:fld id="{FF050AAF-C99E-5E47-BF9E-3FBCE85A751F}" type="slidenum">
              <a:rPr lang="en-US" smtClean="0"/>
              <a:pPr/>
              <a:t>8</a:t>
            </a:fld>
            <a:endParaRPr lang="en-US" dirty="0"/>
          </a:p>
        </p:txBody>
      </p:sp>
    </p:spTree>
    <p:extLst>
      <p:ext uri="{BB962C8B-B14F-4D97-AF65-F5344CB8AC3E}">
        <p14:creationId xmlns:p14="http://schemas.microsoft.com/office/powerpoint/2010/main" val="14756719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braces features indicates what are the static features are used for the modelling. </a:t>
            </a:r>
          </a:p>
        </p:txBody>
      </p:sp>
      <p:sp>
        <p:nvSpPr>
          <p:cNvPr id="4" name="Slide Number Placeholder 3"/>
          <p:cNvSpPr>
            <a:spLocks noGrp="1"/>
          </p:cNvSpPr>
          <p:nvPr>
            <p:ph type="sldNum" sz="quarter" idx="5"/>
          </p:nvPr>
        </p:nvSpPr>
        <p:spPr/>
        <p:txBody>
          <a:bodyPr/>
          <a:lstStyle/>
          <a:p>
            <a:fld id="{FF050AAF-C99E-5E47-BF9E-3FBCE85A751F}" type="slidenum">
              <a:rPr lang="en-US" smtClean="0"/>
              <a:pPr/>
              <a:t>9</a:t>
            </a:fld>
            <a:endParaRPr lang="en-US" dirty="0"/>
          </a:p>
        </p:txBody>
      </p:sp>
    </p:spTree>
    <p:extLst>
      <p:ext uri="{BB962C8B-B14F-4D97-AF65-F5344CB8AC3E}">
        <p14:creationId xmlns:p14="http://schemas.microsoft.com/office/powerpoint/2010/main" val="9532190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F050AAF-C99E-5E47-BF9E-3FBCE85A751F}" type="slidenum">
              <a:rPr lang="en-US" smtClean="0"/>
              <a:pPr/>
              <a:t>18</a:t>
            </a:fld>
            <a:endParaRPr lang="en-US" dirty="0"/>
          </a:p>
        </p:txBody>
      </p:sp>
    </p:spTree>
    <p:extLst>
      <p:ext uri="{BB962C8B-B14F-4D97-AF65-F5344CB8AC3E}">
        <p14:creationId xmlns:p14="http://schemas.microsoft.com/office/powerpoint/2010/main" val="29634774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F050AAF-C99E-5E47-BF9E-3FBCE85A751F}" type="slidenum">
              <a:rPr lang="en-US" smtClean="0"/>
              <a:t>19</a:t>
            </a:fld>
            <a:endParaRPr lang="en-US" dirty="0"/>
          </a:p>
        </p:txBody>
      </p:sp>
    </p:spTree>
    <p:extLst>
      <p:ext uri="{BB962C8B-B14F-4D97-AF65-F5344CB8AC3E}">
        <p14:creationId xmlns:p14="http://schemas.microsoft.com/office/powerpoint/2010/main" val="37615418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2.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2.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3.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3.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4.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15.svg"/><Relationship Id="rId5" Type="http://schemas.openxmlformats.org/officeDocument/2006/relationships/image" Target="../media/image10.png"/><Relationship Id="rId4" Type="http://schemas.openxmlformats.org/officeDocument/2006/relationships/image" Target="../media/image14.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16.svg"/><Relationship Id="rId5" Type="http://schemas.openxmlformats.org/officeDocument/2006/relationships/image" Target="../media/image10.png"/><Relationship Id="rId4" Type="http://schemas.openxmlformats.org/officeDocument/2006/relationships/image" Target="../media/image14.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9.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4.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16.svg"/><Relationship Id="rId5" Type="http://schemas.openxmlformats.org/officeDocument/2006/relationships/image" Target="../media/image10.png"/><Relationship Id="rId4" Type="http://schemas.openxmlformats.org/officeDocument/2006/relationships/image" Target="../media/image14.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7.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4.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9.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11403806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415089" y="4517136"/>
            <a:ext cx="5638800" cy="228600"/>
          </a:xfrm>
          <a:prstGeom prst="rect">
            <a:avLst/>
          </a:prstGeom>
        </p:spPr>
        <p:txBody>
          <a:bodyPr/>
          <a:lstStyle>
            <a:lvl1pPr marL="0" indent="0" algn="l">
              <a:buNone/>
              <a:defRPr sz="18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ext Placeholder 11">
            <a:extLst>
              <a:ext uri="{FF2B5EF4-FFF2-40B4-BE49-F238E27FC236}">
                <a16:creationId xmlns:a16="http://schemas.microsoft.com/office/drawing/2014/main" id="{1FF0BD0F-29F1-5746-9751-EC930E120D34}"/>
              </a:ext>
            </a:extLst>
          </p:cNvPr>
          <p:cNvSpPr>
            <a:spLocks noGrp="1"/>
          </p:cNvSpPr>
          <p:nvPr>
            <p:ph type="body" sz="quarter" idx="11" hasCustomPrompt="1"/>
          </p:nvPr>
        </p:nvSpPr>
        <p:spPr>
          <a:xfrm>
            <a:off x="415089" y="4758997"/>
            <a:ext cx="5638800" cy="224536"/>
          </a:xfrm>
          <a:prstGeom prst="rect">
            <a:avLst/>
          </a:prstGeom>
        </p:spPr>
        <p:txBody>
          <a:bodyPr vert="horz" lIns="0" tIns="0" rIns="0" bIns="0" rtlCol="0">
            <a:noAutofit/>
          </a:bodyPr>
          <a:lstStyle>
            <a:lvl1pPr>
              <a:defRPr lang="en-US" sz="1800" i="0" dirty="0">
                <a:latin typeface="+mn-lt"/>
              </a:defRPr>
            </a:lvl1pPr>
          </a:lstStyle>
          <a:p>
            <a:pPr lvl="0"/>
            <a:r>
              <a:rPr lang="en-US" dirty="0"/>
              <a:t>Click to add date</a:t>
            </a:r>
          </a:p>
        </p:txBody>
      </p:sp>
      <p:sp>
        <p:nvSpPr>
          <p:cNvPr id="10" name="Title 1">
            <a:extLst>
              <a:ext uri="{FF2B5EF4-FFF2-40B4-BE49-F238E27FC236}">
                <a16:creationId xmlns:a16="http://schemas.microsoft.com/office/drawing/2014/main" id="{42A56EB4-D385-CA47-98BE-9B9C64B5BD70}"/>
              </a:ext>
            </a:extLst>
          </p:cNvPr>
          <p:cNvSpPr>
            <a:spLocks noGrp="1"/>
          </p:cNvSpPr>
          <p:nvPr>
            <p:ph type="ctrTitle" hasCustomPrompt="1"/>
          </p:nvPr>
        </p:nvSpPr>
        <p:spPr>
          <a:xfrm>
            <a:off x="415089" y="2587226"/>
            <a:ext cx="8349500" cy="1567689"/>
          </a:xfrm>
        </p:spPr>
        <p:txBody>
          <a:bodyPr vert="horz" anchor="b" anchorCtr="0"/>
          <a:lstStyle>
            <a:lvl1pPr algn="l">
              <a:defRPr sz="5200">
                <a:solidFill>
                  <a:schemeClr val="tx1"/>
                </a:solidFill>
              </a:defRPr>
            </a:lvl1pPr>
          </a:lstStyle>
          <a:p>
            <a:r>
              <a:rPr lang="en-US" dirty="0"/>
              <a:t>Click to add</a:t>
            </a:r>
            <a:br>
              <a:rPr lang="en-US" dirty="0"/>
            </a:br>
            <a:r>
              <a:rPr lang="en-US" dirty="0"/>
              <a:t>presentation title</a:t>
            </a:r>
          </a:p>
        </p:txBody>
      </p:sp>
      <p:pic>
        <p:nvPicPr>
          <p:cNvPr id="15" name="Graphic 14">
            <a:extLst>
              <a:ext uri="{FF2B5EF4-FFF2-40B4-BE49-F238E27FC236}">
                <a16:creationId xmlns:a16="http://schemas.microsoft.com/office/drawing/2014/main" id="{CEEC8927-BEE8-3FC1-A519-8A7893FF155F}"/>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93341" y="578424"/>
            <a:ext cx="1785575" cy="384339"/>
          </a:xfrm>
          <a:prstGeom prst="rect">
            <a:avLst/>
          </a:prstGeom>
        </p:spPr>
      </p:pic>
    </p:spTree>
    <p:extLst>
      <p:ext uri="{BB962C8B-B14F-4D97-AF65-F5344CB8AC3E}">
        <p14:creationId xmlns:p14="http://schemas.microsoft.com/office/powerpoint/2010/main" val="34213785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urple">
    <p:bg>
      <p:bgPr>
        <a:solidFill>
          <a:srgbClr val="5009B5"/>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10905094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lvl1pPr>
              <a:defRPr>
                <a:solidFill>
                  <a:schemeClr val="bg1"/>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24FC1E18-3994-4821-BBED-2E435EACD903}"/>
              </a:ext>
            </a:extLst>
          </p:cNvPr>
          <p:cNvSpPr>
            <a:spLocks noGrp="1"/>
          </p:cNvSpPr>
          <p:nvPr>
            <p:ph idx="1" hasCustomPrompt="1"/>
          </p:nvPr>
        </p:nvSpPr>
        <p:spPr>
          <a:xfrm>
            <a:off x="457199" y="1694048"/>
            <a:ext cx="11274552" cy="4313052"/>
          </a:xfrm>
        </p:spPr>
        <p:txBody>
          <a:bodyPr vert="horz" lIns="0" tIns="0" rIns="0" bIns="0" rtlCol="0">
            <a:noAutofit/>
          </a:bodyPr>
          <a:lstStyle>
            <a:lvl1pPr>
              <a:buClr>
                <a:schemeClr val="bg1"/>
              </a:buClr>
              <a:defRPr lang="en-US" dirty="0">
                <a:solidFill>
                  <a:schemeClr val="bg1"/>
                </a:solidFill>
              </a:defRPr>
            </a:lvl1pPr>
            <a:lvl2pPr>
              <a:buClr>
                <a:schemeClr val="bg1"/>
              </a:buClr>
              <a:defRPr lang="en-US" dirty="0">
                <a:solidFill>
                  <a:schemeClr val="bg1"/>
                </a:solidFill>
              </a:defRPr>
            </a:lvl2pPr>
            <a:lvl3pPr>
              <a:buClr>
                <a:schemeClr val="bg1"/>
              </a:buClr>
              <a:defRPr lang="en-US" dirty="0">
                <a:solidFill>
                  <a:schemeClr val="bg1"/>
                </a:solidFill>
              </a:defRPr>
            </a:lvl3pPr>
            <a:lvl4pPr>
              <a:buClr>
                <a:schemeClr val="bg1"/>
              </a:buClr>
              <a:defRPr lang="en-US" dirty="0">
                <a:solidFill>
                  <a:schemeClr val="bg1"/>
                </a:solidFill>
              </a:defRPr>
            </a:lvl4pPr>
            <a:lvl5pPr>
              <a:buClr>
                <a:schemeClr val="bg1"/>
              </a:buClr>
              <a:defRPr lang="en-US" dirty="0">
                <a:solidFill>
                  <a:schemeClr val="bg1"/>
                </a:solidFill>
              </a:defRPr>
            </a:lvl5pPr>
            <a:lvl6pPr>
              <a:buClr>
                <a:schemeClr val="bg1"/>
              </a:buClr>
              <a:defRPr>
                <a:solidFill>
                  <a:schemeClr val="bg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1" name="TextBox 10">
            <a:extLst>
              <a:ext uri="{FF2B5EF4-FFF2-40B4-BE49-F238E27FC236}">
                <a16:creationId xmlns:a16="http://schemas.microsoft.com/office/drawing/2014/main" id="{AFD28C7D-8653-A64D-9D01-E67E0D43199F}"/>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pic>
        <p:nvPicPr>
          <p:cNvPr id="8" name="Graphic 7">
            <a:extLst>
              <a:ext uri="{FF2B5EF4-FFF2-40B4-BE49-F238E27FC236}">
                <a16:creationId xmlns:a16="http://schemas.microsoft.com/office/drawing/2014/main" id="{41129BB6-0921-694D-A4A8-DD9B3AD02602}"/>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199" y="6181343"/>
            <a:ext cx="365760" cy="365760"/>
          </a:xfrm>
          <a:prstGeom prst="rect">
            <a:avLst/>
          </a:prstGeom>
        </p:spPr>
      </p:pic>
      <p:sp>
        <p:nvSpPr>
          <p:cNvPr id="4" name="Text Placeholder 3">
            <a:extLst>
              <a:ext uri="{FF2B5EF4-FFF2-40B4-BE49-F238E27FC236}">
                <a16:creationId xmlns:a16="http://schemas.microsoft.com/office/drawing/2014/main" id="{58FAD17C-722E-2194-C51B-1C834EBB712D}"/>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4383178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573454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237868D-9B84-AE4F-B833-8E8C7F585207}"/>
              </a:ext>
            </a:extLst>
          </p:cNvPr>
          <p:cNvSpPr>
            <a:spLocks noGrp="1"/>
          </p:cNvSpPr>
          <p:nvPr>
            <p:ph type="title" hasCustomPrompt="1"/>
          </p:nvPr>
        </p:nvSpPr>
        <p:spPr/>
        <p:txBody>
          <a:bodyPr/>
          <a:lstStyle/>
          <a:p>
            <a:r>
              <a:rPr lang="en-US" dirty="0"/>
              <a:t>Click to edit master title style</a:t>
            </a:r>
          </a:p>
        </p:txBody>
      </p:sp>
      <p:sp>
        <p:nvSpPr>
          <p:cNvPr id="6" name="Content Placeholder 5">
            <a:extLst>
              <a:ext uri="{FF2B5EF4-FFF2-40B4-BE49-F238E27FC236}">
                <a16:creationId xmlns:a16="http://schemas.microsoft.com/office/drawing/2014/main" id="{6FE5EBD5-3136-174B-831A-04B8DF69E5D6}"/>
              </a:ext>
            </a:extLst>
          </p:cNvPr>
          <p:cNvSpPr>
            <a:spLocks noGrp="1"/>
          </p:cNvSpPr>
          <p:nvPr>
            <p:ph sz="quarter" idx="11" hasCustomPrompt="1"/>
          </p:nvPr>
        </p:nvSpPr>
        <p:spPr>
          <a:xfrm>
            <a:off x="457199" y="1691640"/>
            <a:ext cx="5529263" cy="4315460"/>
          </a:xfrm>
        </p:spPr>
        <p:txBody>
          <a:bodyPr vert="horz" lIns="0" tIns="0" rIns="18288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9" name="Content Placeholder 5">
            <a:extLst>
              <a:ext uri="{FF2B5EF4-FFF2-40B4-BE49-F238E27FC236}">
                <a16:creationId xmlns:a16="http://schemas.microsoft.com/office/drawing/2014/main" id="{A1E52CE3-22DF-5A41-9EAD-D5575B3917AE}"/>
              </a:ext>
            </a:extLst>
          </p:cNvPr>
          <p:cNvSpPr>
            <a:spLocks noGrp="1"/>
          </p:cNvSpPr>
          <p:nvPr>
            <p:ph sz="quarter" idx="12" hasCustomPrompt="1"/>
          </p:nvPr>
        </p:nvSpPr>
        <p:spPr>
          <a:xfrm>
            <a:off x="6215063" y="1691640"/>
            <a:ext cx="5529263" cy="4315460"/>
          </a:xfrm>
        </p:spPr>
        <p:txBody>
          <a:bodyPr vert="horz" lIns="0" tIns="0" rIns="18288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2" name="Text Placeholder 3">
            <a:extLst>
              <a:ext uri="{FF2B5EF4-FFF2-40B4-BE49-F238E27FC236}">
                <a16:creationId xmlns:a16="http://schemas.microsoft.com/office/drawing/2014/main" id="{1B19BAFD-D309-457C-FA11-8DA8B91BD7CE}"/>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047515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8206909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581CAC1E-A9D0-C348-9CA5-ACB7F2A85EDF}"/>
              </a:ext>
            </a:extLst>
          </p:cNvPr>
          <p:cNvSpPr>
            <a:spLocks noGrp="1"/>
          </p:cNvSpPr>
          <p:nvPr>
            <p:ph type="title" hasCustomPrompt="1"/>
          </p:nvPr>
        </p:nvSpPr>
        <p:spPr>
          <a:xfrm>
            <a:off x="457200" y="384048"/>
            <a:ext cx="11274552" cy="822960"/>
          </a:xfrm>
        </p:spPr>
        <p:txBody>
          <a:bodyPr/>
          <a:lstStyle/>
          <a:p>
            <a:r>
              <a:rPr lang="en-US" dirty="0"/>
              <a:t>Click to edit master title style</a:t>
            </a:r>
          </a:p>
        </p:txBody>
      </p:sp>
      <p:sp>
        <p:nvSpPr>
          <p:cNvPr id="9" name="Content Placeholder 5">
            <a:extLst>
              <a:ext uri="{FF2B5EF4-FFF2-40B4-BE49-F238E27FC236}">
                <a16:creationId xmlns:a16="http://schemas.microsoft.com/office/drawing/2014/main" id="{45AB35AA-8D35-7641-A957-D4B0335C4E6D}"/>
              </a:ext>
            </a:extLst>
          </p:cNvPr>
          <p:cNvSpPr>
            <a:spLocks noGrp="1"/>
          </p:cNvSpPr>
          <p:nvPr>
            <p:ph sz="quarter" idx="11" hasCustomPrompt="1"/>
          </p:nvPr>
        </p:nvSpPr>
        <p:spPr>
          <a:xfrm>
            <a:off x="457200" y="1691640"/>
            <a:ext cx="3609976" cy="4315460"/>
          </a:xfrm>
        </p:spPr>
        <p:txBody>
          <a:bodyPr vert="horz" lIns="0" tIns="0" rIns="18288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2" name="Content Placeholder 5">
            <a:extLst>
              <a:ext uri="{FF2B5EF4-FFF2-40B4-BE49-F238E27FC236}">
                <a16:creationId xmlns:a16="http://schemas.microsoft.com/office/drawing/2014/main" id="{EBAB0896-32F4-184C-AB6B-8BD1DC29EDF6}"/>
              </a:ext>
            </a:extLst>
          </p:cNvPr>
          <p:cNvSpPr>
            <a:spLocks noGrp="1"/>
          </p:cNvSpPr>
          <p:nvPr>
            <p:ph sz="quarter" idx="13" hasCustomPrompt="1"/>
          </p:nvPr>
        </p:nvSpPr>
        <p:spPr>
          <a:xfrm>
            <a:off x="4295273" y="1691640"/>
            <a:ext cx="3609976" cy="4315460"/>
          </a:xfrm>
        </p:spPr>
        <p:txBody>
          <a:bodyPr vert="horz" lIns="0" tIns="0" rIns="18288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3" name="Content Placeholder 5">
            <a:extLst>
              <a:ext uri="{FF2B5EF4-FFF2-40B4-BE49-F238E27FC236}">
                <a16:creationId xmlns:a16="http://schemas.microsoft.com/office/drawing/2014/main" id="{737AFD7F-3700-A74E-A770-258AE729175D}"/>
              </a:ext>
            </a:extLst>
          </p:cNvPr>
          <p:cNvSpPr>
            <a:spLocks noGrp="1"/>
          </p:cNvSpPr>
          <p:nvPr>
            <p:ph sz="quarter" idx="14" hasCustomPrompt="1"/>
          </p:nvPr>
        </p:nvSpPr>
        <p:spPr>
          <a:xfrm>
            <a:off x="8133346" y="1691640"/>
            <a:ext cx="3598406" cy="4315460"/>
          </a:xfrm>
        </p:spPr>
        <p:txBody>
          <a:bodyPr vert="horz" lIns="0" tIns="0" rIns="18288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2" name="Text Placeholder 3">
            <a:extLst>
              <a:ext uri="{FF2B5EF4-FFF2-40B4-BE49-F238E27FC236}">
                <a16:creationId xmlns:a16="http://schemas.microsoft.com/office/drawing/2014/main" id="{1F049AB0-2699-E4A5-AE74-ECA75F9891B4}"/>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1073045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53017317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E4186CE-9B9E-5841-BFD2-4B0A423A8DC0}"/>
              </a:ext>
            </a:extLst>
          </p:cNvPr>
          <p:cNvSpPr>
            <a:spLocks noGrp="1"/>
          </p:cNvSpPr>
          <p:nvPr>
            <p:ph type="title" hasCustomPrompt="1"/>
          </p:nvPr>
        </p:nvSpPr>
        <p:spPr>
          <a:xfrm>
            <a:off x="457200" y="384048"/>
            <a:ext cx="11274552" cy="822960"/>
          </a:xfrm>
        </p:spPr>
        <p:txBody>
          <a:bodyPr/>
          <a:lstStyle/>
          <a:p>
            <a:r>
              <a:rPr lang="en-US" dirty="0"/>
              <a:t>Click to edit master title style</a:t>
            </a:r>
          </a:p>
        </p:txBody>
      </p:sp>
      <p:sp>
        <p:nvSpPr>
          <p:cNvPr id="4" name="Content Placeholder 3">
            <a:extLst>
              <a:ext uri="{FF2B5EF4-FFF2-40B4-BE49-F238E27FC236}">
                <a16:creationId xmlns:a16="http://schemas.microsoft.com/office/drawing/2014/main" id="{AD385E59-9CC5-9871-4EB1-B364647AAFA5}"/>
              </a:ext>
            </a:extLst>
          </p:cNvPr>
          <p:cNvSpPr>
            <a:spLocks noGrp="1"/>
          </p:cNvSpPr>
          <p:nvPr>
            <p:ph sz="quarter" idx="21"/>
          </p:nvPr>
        </p:nvSpPr>
        <p:spPr>
          <a:xfrm>
            <a:off x="475443" y="1691641"/>
            <a:ext cx="264082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vl6pPr>
              <a:lnSpc>
                <a:spcPct val="100000"/>
              </a:lnSpc>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3">
            <a:extLst>
              <a:ext uri="{FF2B5EF4-FFF2-40B4-BE49-F238E27FC236}">
                <a16:creationId xmlns:a16="http://schemas.microsoft.com/office/drawing/2014/main" id="{89E427DA-4D2F-C091-BBC3-51007DCBA33D}"/>
              </a:ext>
            </a:extLst>
          </p:cNvPr>
          <p:cNvSpPr>
            <a:spLocks noGrp="1"/>
          </p:cNvSpPr>
          <p:nvPr>
            <p:ph sz="quarter" idx="22"/>
          </p:nvPr>
        </p:nvSpPr>
        <p:spPr>
          <a:xfrm>
            <a:off x="3348289" y="1691641"/>
            <a:ext cx="264082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vl6pPr>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3">
            <a:extLst>
              <a:ext uri="{FF2B5EF4-FFF2-40B4-BE49-F238E27FC236}">
                <a16:creationId xmlns:a16="http://schemas.microsoft.com/office/drawing/2014/main" id="{A93994B7-A0C7-265E-120E-98F5D0653416}"/>
              </a:ext>
            </a:extLst>
          </p:cNvPr>
          <p:cNvSpPr>
            <a:spLocks noGrp="1"/>
          </p:cNvSpPr>
          <p:nvPr>
            <p:ph sz="quarter" idx="23"/>
          </p:nvPr>
        </p:nvSpPr>
        <p:spPr>
          <a:xfrm>
            <a:off x="6221135" y="1691641"/>
            <a:ext cx="264082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vl6pPr>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3">
            <a:extLst>
              <a:ext uri="{FF2B5EF4-FFF2-40B4-BE49-F238E27FC236}">
                <a16:creationId xmlns:a16="http://schemas.microsoft.com/office/drawing/2014/main" id="{FD44DF59-6C6E-B941-C523-A61E7A097C9C}"/>
              </a:ext>
            </a:extLst>
          </p:cNvPr>
          <p:cNvSpPr>
            <a:spLocks noGrp="1"/>
          </p:cNvSpPr>
          <p:nvPr>
            <p:ph sz="quarter" idx="24"/>
          </p:nvPr>
        </p:nvSpPr>
        <p:spPr>
          <a:xfrm>
            <a:off x="9093980" y="1691641"/>
            <a:ext cx="264082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vl6pPr>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ext Placeholder 3">
            <a:extLst>
              <a:ext uri="{FF2B5EF4-FFF2-40B4-BE49-F238E27FC236}">
                <a16:creationId xmlns:a16="http://schemas.microsoft.com/office/drawing/2014/main" id="{3AD5E377-423A-C7AA-84A4-10D32795F03C}"/>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1016313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p>
            <a:r>
              <a:rPr lang="en-US" dirty="0"/>
              <a:t>Click to edit master title style</a:t>
            </a:r>
          </a:p>
        </p:txBody>
      </p:sp>
      <p:sp>
        <p:nvSpPr>
          <p:cNvPr id="2" name="Text Placeholder 3">
            <a:extLst>
              <a:ext uri="{FF2B5EF4-FFF2-40B4-BE49-F238E27FC236}">
                <a16:creationId xmlns:a16="http://schemas.microsoft.com/office/drawing/2014/main" id="{8248009B-972F-3AE9-7E12-F09363AE867E}"/>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4355597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am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10F62E-226D-824B-B8DB-2C89D7A653EA}"/>
              </a:ext>
            </a:extLst>
          </p:cNvPr>
          <p:cNvSpPr>
            <a:spLocks noGrp="1"/>
          </p:cNvSpPr>
          <p:nvPr>
            <p:ph type="title" hasCustomPrompt="1"/>
          </p:nvPr>
        </p:nvSpPr>
        <p:spPr/>
        <p:txBody>
          <a:bodyPr/>
          <a:lstStyle/>
          <a:p>
            <a:r>
              <a:rPr lang="en-US" dirty="0"/>
              <a:t>Click to edit master title style</a:t>
            </a:r>
          </a:p>
        </p:txBody>
      </p:sp>
      <p:sp>
        <p:nvSpPr>
          <p:cNvPr id="5" name="Text Placeholder 4">
            <a:extLst>
              <a:ext uri="{FF2B5EF4-FFF2-40B4-BE49-F238E27FC236}">
                <a16:creationId xmlns:a16="http://schemas.microsoft.com/office/drawing/2014/main" id="{8FE593D0-EE65-A94C-979B-4EB5160A52D5}"/>
              </a:ext>
            </a:extLst>
          </p:cNvPr>
          <p:cNvSpPr>
            <a:spLocks noGrp="1"/>
          </p:cNvSpPr>
          <p:nvPr>
            <p:ph type="body" sz="quarter" idx="12" hasCustomPrompt="1"/>
          </p:nvPr>
        </p:nvSpPr>
        <p:spPr>
          <a:xfrm>
            <a:off x="463550" y="2762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6" name="Text Placeholder 4">
            <a:extLst>
              <a:ext uri="{FF2B5EF4-FFF2-40B4-BE49-F238E27FC236}">
                <a16:creationId xmlns:a16="http://schemas.microsoft.com/office/drawing/2014/main" id="{A4F42A18-507B-2A47-B6EA-97335445F084}"/>
              </a:ext>
            </a:extLst>
          </p:cNvPr>
          <p:cNvSpPr>
            <a:spLocks noGrp="1"/>
          </p:cNvSpPr>
          <p:nvPr>
            <p:ph type="body" sz="quarter" idx="13" hasCustomPrompt="1"/>
          </p:nvPr>
        </p:nvSpPr>
        <p:spPr>
          <a:xfrm>
            <a:off x="463550" y="3012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8" name="Picture Placeholder 7">
            <a:extLst>
              <a:ext uri="{FF2B5EF4-FFF2-40B4-BE49-F238E27FC236}">
                <a16:creationId xmlns:a16="http://schemas.microsoft.com/office/drawing/2014/main" id="{7136F8D8-9E9A-7C43-880A-D35701E32683}"/>
              </a:ext>
            </a:extLst>
          </p:cNvPr>
          <p:cNvSpPr>
            <a:spLocks noGrp="1"/>
          </p:cNvSpPr>
          <p:nvPr>
            <p:ph type="pic" sz="quarter" idx="14"/>
          </p:nvPr>
        </p:nvSpPr>
        <p:spPr>
          <a:xfrm>
            <a:off x="846137" y="1727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9" name="Text Placeholder 4">
            <a:extLst>
              <a:ext uri="{FF2B5EF4-FFF2-40B4-BE49-F238E27FC236}">
                <a16:creationId xmlns:a16="http://schemas.microsoft.com/office/drawing/2014/main" id="{9ADE556B-B119-6F48-A31A-9BF6AEDC91BB}"/>
              </a:ext>
            </a:extLst>
          </p:cNvPr>
          <p:cNvSpPr>
            <a:spLocks noGrp="1"/>
          </p:cNvSpPr>
          <p:nvPr>
            <p:ph type="body" sz="quarter" idx="15" hasCustomPrompt="1"/>
          </p:nvPr>
        </p:nvSpPr>
        <p:spPr>
          <a:xfrm>
            <a:off x="2379118" y="2762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10" name="Text Placeholder 4">
            <a:extLst>
              <a:ext uri="{FF2B5EF4-FFF2-40B4-BE49-F238E27FC236}">
                <a16:creationId xmlns:a16="http://schemas.microsoft.com/office/drawing/2014/main" id="{DBE864A2-9804-E543-A5CE-8D60A0A295DC}"/>
              </a:ext>
            </a:extLst>
          </p:cNvPr>
          <p:cNvSpPr>
            <a:spLocks noGrp="1"/>
          </p:cNvSpPr>
          <p:nvPr>
            <p:ph type="body" sz="quarter" idx="16" hasCustomPrompt="1"/>
          </p:nvPr>
        </p:nvSpPr>
        <p:spPr>
          <a:xfrm>
            <a:off x="2379118" y="3012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11" name="Picture Placeholder 7">
            <a:extLst>
              <a:ext uri="{FF2B5EF4-FFF2-40B4-BE49-F238E27FC236}">
                <a16:creationId xmlns:a16="http://schemas.microsoft.com/office/drawing/2014/main" id="{B419F68C-84F4-CA45-BF35-6C80E7E9133B}"/>
              </a:ext>
            </a:extLst>
          </p:cNvPr>
          <p:cNvSpPr>
            <a:spLocks noGrp="1"/>
          </p:cNvSpPr>
          <p:nvPr>
            <p:ph type="pic" sz="quarter" idx="17"/>
          </p:nvPr>
        </p:nvSpPr>
        <p:spPr>
          <a:xfrm>
            <a:off x="2761705" y="1727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12" name="Text Placeholder 4">
            <a:extLst>
              <a:ext uri="{FF2B5EF4-FFF2-40B4-BE49-F238E27FC236}">
                <a16:creationId xmlns:a16="http://schemas.microsoft.com/office/drawing/2014/main" id="{01CB1C99-74B5-174F-98C0-171233B66025}"/>
              </a:ext>
            </a:extLst>
          </p:cNvPr>
          <p:cNvSpPr>
            <a:spLocks noGrp="1"/>
          </p:cNvSpPr>
          <p:nvPr>
            <p:ph type="body" sz="quarter" idx="18" hasCustomPrompt="1"/>
          </p:nvPr>
        </p:nvSpPr>
        <p:spPr>
          <a:xfrm>
            <a:off x="4308035" y="2762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13" name="Text Placeholder 4">
            <a:extLst>
              <a:ext uri="{FF2B5EF4-FFF2-40B4-BE49-F238E27FC236}">
                <a16:creationId xmlns:a16="http://schemas.microsoft.com/office/drawing/2014/main" id="{824E4549-6E6F-7745-AB1B-8EDC747F883F}"/>
              </a:ext>
            </a:extLst>
          </p:cNvPr>
          <p:cNvSpPr>
            <a:spLocks noGrp="1"/>
          </p:cNvSpPr>
          <p:nvPr>
            <p:ph type="body" sz="quarter" idx="19" hasCustomPrompt="1"/>
          </p:nvPr>
        </p:nvSpPr>
        <p:spPr>
          <a:xfrm>
            <a:off x="4308035" y="3012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14" name="Picture Placeholder 7">
            <a:extLst>
              <a:ext uri="{FF2B5EF4-FFF2-40B4-BE49-F238E27FC236}">
                <a16:creationId xmlns:a16="http://schemas.microsoft.com/office/drawing/2014/main" id="{29D27A29-F9E8-6346-A5EF-5DA6EA07F1CC}"/>
              </a:ext>
            </a:extLst>
          </p:cNvPr>
          <p:cNvSpPr>
            <a:spLocks noGrp="1"/>
          </p:cNvSpPr>
          <p:nvPr>
            <p:ph type="pic" sz="quarter" idx="20"/>
          </p:nvPr>
        </p:nvSpPr>
        <p:spPr>
          <a:xfrm>
            <a:off x="4690622" y="1727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15" name="Text Placeholder 4">
            <a:extLst>
              <a:ext uri="{FF2B5EF4-FFF2-40B4-BE49-F238E27FC236}">
                <a16:creationId xmlns:a16="http://schemas.microsoft.com/office/drawing/2014/main" id="{CEBB509A-6317-3047-B130-69533D44DA2C}"/>
              </a:ext>
            </a:extLst>
          </p:cNvPr>
          <p:cNvSpPr>
            <a:spLocks noGrp="1"/>
          </p:cNvSpPr>
          <p:nvPr>
            <p:ph type="body" sz="quarter" idx="21" hasCustomPrompt="1"/>
          </p:nvPr>
        </p:nvSpPr>
        <p:spPr>
          <a:xfrm>
            <a:off x="6216928" y="2762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16" name="Text Placeholder 4">
            <a:extLst>
              <a:ext uri="{FF2B5EF4-FFF2-40B4-BE49-F238E27FC236}">
                <a16:creationId xmlns:a16="http://schemas.microsoft.com/office/drawing/2014/main" id="{87C8E29D-1DF4-E64B-B1A0-057FB56DD8F8}"/>
              </a:ext>
            </a:extLst>
          </p:cNvPr>
          <p:cNvSpPr>
            <a:spLocks noGrp="1"/>
          </p:cNvSpPr>
          <p:nvPr>
            <p:ph type="body" sz="quarter" idx="22" hasCustomPrompt="1"/>
          </p:nvPr>
        </p:nvSpPr>
        <p:spPr>
          <a:xfrm>
            <a:off x="6216928" y="3012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17" name="Picture Placeholder 7">
            <a:extLst>
              <a:ext uri="{FF2B5EF4-FFF2-40B4-BE49-F238E27FC236}">
                <a16:creationId xmlns:a16="http://schemas.microsoft.com/office/drawing/2014/main" id="{0BD9928C-5B7E-4748-9D80-5DE690EE3BC9}"/>
              </a:ext>
            </a:extLst>
          </p:cNvPr>
          <p:cNvSpPr>
            <a:spLocks noGrp="1"/>
          </p:cNvSpPr>
          <p:nvPr>
            <p:ph type="pic" sz="quarter" idx="23"/>
          </p:nvPr>
        </p:nvSpPr>
        <p:spPr>
          <a:xfrm>
            <a:off x="6599515" y="1727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18" name="Text Placeholder 4">
            <a:extLst>
              <a:ext uri="{FF2B5EF4-FFF2-40B4-BE49-F238E27FC236}">
                <a16:creationId xmlns:a16="http://schemas.microsoft.com/office/drawing/2014/main" id="{FE3CBF30-81DD-0A43-8A15-60197C866CAF}"/>
              </a:ext>
            </a:extLst>
          </p:cNvPr>
          <p:cNvSpPr>
            <a:spLocks noGrp="1"/>
          </p:cNvSpPr>
          <p:nvPr>
            <p:ph type="body" sz="quarter" idx="24" hasCustomPrompt="1"/>
          </p:nvPr>
        </p:nvSpPr>
        <p:spPr>
          <a:xfrm>
            <a:off x="8139170" y="2762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19" name="Text Placeholder 4">
            <a:extLst>
              <a:ext uri="{FF2B5EF4-FFF2-40B4-BE49-F238E27FC236}">
                <a16:creationId xmlns:a16="http://schemas.microsoft.com/office/drawing/2014/main" id="{199B807F-816B-6C48-B219-89F944F4EBAC}"/>
              </a:ext>
            </a:extLst>
          </p:cNvPr>
          <p:cNvSpPr>
            <a:spLocks noGrp="1"/>
          </p:cNvSpPr>
          <p:nvPr>
            <p:ph type="body" sz="quarter" idx="25" hasCustomPrompt="1"/>
          </p:nvPr>
        </p:nvSpPr>
        <p:spPr>
          <a:xfrm>
            <a:off x="8139170" y="3012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20" name="Picture Placeholder 7">
            <a:extLst>
              <a:ext uri="{FF2B5EF4-FFF2-40B4-BE49-F238E27FC236}">
                <a16:creationId xmlns:a16="http://schemas.microsoft.com/office/drawing/2014/main" id="{8A8BF656-1C8C-6649-A301-D3C1DB5EA165}"/>
              </a:ext>
            </a:extLst>
          </p:cNvPr>
          <p:cNvSpPr>
            <a:spLocks noGrp="1"/>
          </p:cNvSpPr>
          <p:nvPr>
            <p:ph type="pic" sz="quarter" idx="26"/>
          </p:nvPr>
        </p:nvSpPr>
        <p:spPr>
          <a:xfrm>
            <a:off x="8521757" y="1727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21" name="Text Placeholder 4">
            <a:extLst>
              <a:ext uri="{FF2B5EF4-FFF2-40B4-BE49-F238E27FC236}">
                <a16:creationId xmlns:a16="http://schemas.microsoft.com/office/drawing/2014/main" id="{8E97B3CF-F3AF-0847-973F-35EB62E0DB15}"/>
              </a:ext>
            </a:extLst>
          </p:cNvPr>
          <p:cNvSpPr>
            <a:spLocks noGrp="1"/>
          </p:cNvSpPr>
          <p:nvPr>
            <p:ph type="body" sz="quarter" idx="27" hasCustomPrompt="1"/>
          </p:nvPr>
        </p:nvSpPr>
        <p:spPr>
          <a:xfrm>
            <a:off x="10054738" y="2762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22" name="Text Placeholder 4">
            <a:extLst>
              <a:ext uri="{FF2B5EF4-FFF2-40B4-BE49-F238E27FC236}">
                <a16:creationId xmlns:a16="http://schemas.microsoft.com/office/drawing/2014/main" id="{4000D23D-524D-D842-BDC0-1528A56D18D3}"/>
              </a:ext>
            </a:extLst>
          </p:cNvPr>
          <p:cNvSpPr>
            <a:spLocks noGrp="1"/>
          </p:cNvSpPr>
          <p:nvPr>
            <p:ph type="body" sz="quarter" idx="28" hasCustomPrompt="1"/>
          </p:nvPr>
        </p:nvSpPr>
        <p:spPr>
          <a:xfrm>
            <a:off x="10054738" y="3012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23" name="Picture Placeholder 7">
            <a:extLst>
              <a:ext uri="{FF2B5EF4-FFF2-40B4-BE49-F238E27FC236}">
                <a16:creationId xmlns:a16="http://schemas.microsoft.com/office/drawing/2014/main" id="{8ACF24C7-C577-1740-83D4-188B3F6A4CCB}"/>
              </a:ext>
            </a:extLst>
          </p:cNvPr>
          <p:cNvSpPr>
            <a:spLocks noGrp="1"/>
          </p:cNvSpPr>
          <p:nvPr>
            <p:ph type="pic" sz="quarter" idx="29"/>
          </p:nvPr>
        </p:nvSpPr>
        <p:spPr>
          <a:xfrm>
            <a:off x="10437325" y="1727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24" name="Text Placeholder 4">
            <a:extLst>
              <a:ext uri="{FF2B5EF4-FFF2-40B4-BE49-F238E27FC236}">
                <a16:creationId xmlns:a16="http://schemas.microsoft.com/office/drawing/2014/main" id="{E97CDEC1-E73D-F846-83AB-C6232AFCC7A0}"/>
              </a:ext>
            </a:extLst>
          </p:cNvPr>
          <p:cNvSpPr>
            <a:spLocks noGrp="1"/>
          </p:cNvSpPr>
          <p:nvPr>
            <p:ph type="body" sz="quarter" idx="30" hasCustomPrompt="1"/>
          </p:nvPr>
        </p:nvSpPr>
        <p:spPr>
          <a:xfrm>
            <a:off x="463550" y="4905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25" name="Text Placeholder 4">
            <a:extLst>
              <a:ext uri="{FF2B5EF4-FFF2-40B4-BE49-F238E27FC236}">
                <a16:creationId xmlns:a16="http://schemas.microsoft.com/office/drawing/2014/main" id="{3A0FC742-28EF-1F4F-98A3-67EDF60D9541}"/>
              </a:ext>
            </a:extLst>
          </p:cNvPr>
          <p:cNvSpPr>
            <a:spLocks noGrp="1"/>
          </p:cNvSpPr>
          <p:nvPr>
            <p:ph type="body" sz="quarter" idx="31" hasCustomPrompt="1"/>
          </p:nvPr>
        </p:nvSpPr>
        <p:spPr>
          <a:xfrm>
            <a:off x="463550" y="5155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26" name="Picture Placeholder 7">
            <a:extLst>
              <a:ext uri="{FF2B5EF4-FFF2-40B4-BE49-F238E27FC236}">
                <a16:creationId xmlns:a16="http://schemas.microsoft.com/office/drawing/2014/main" id="{AC2C9A8D-A59D-3545-BBA0-D20E682673F9}"/>
              </a:ext>
            </a:extLst>
          </p:cNvPr>
          <p:cNvSpPr>
            <a:spLocks noGrp="1"/>
          </p:cNvSpPr>
          <p:nvPr>
            <p:ph type="pic" sz="quarter" idx="32"/>
          </p:nvPr>
        </p:nvSpPr>
        <p:spPr>
          <a:xfrm>
            <a:off x="846137" y="3870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27" name="Text Placeholder 4">
            <a:extLst>
              <a:ext uri="{FF2B5EF4-FFF2-40B4-BE49-F238E27FC236}">
                <a16:creationId xmlns:a16="http://schemas.microsoft.com/office/drawing/2014/main" id="{0A06A56F-E43A-8E47-894E-4A4CED51900B}"/>
              </a:ext>
            </a:extLst>
          </p:cNvPr>
          <p:cNvSpPr>
            <a:spLocks noGrp="1"/>
          </p:cNvSpPr>
          <p:nvPr>
            <p:ph type="body" sz="quarter" idx="33" hasCustomPrompt="1"/>
          </p:nvPr>
        </p:nvSpPr>
        <p:spPr>
          <a:xfrm>
            <a:off x="2379118" y="4905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28" name="Text Placeholder 4">
            <a:extLst>
              <a:ext uri="{FF2B5EF4-FFF2-40B4-BE49-F238E27FC236}">
                <a16:creationId xmlns:a16="http://schemas.microsoft.com/office/drawing/2014/main" id="{3273EA5D-FA5D-204D-B343-A30D7C321D28}"/>
              </a:ext>
            </a:extLst>
          </p:cNvPr>
          <p:cNvSpPr>
            <a:spLocks noGrp="1"/>
          </p:cNvSpPr>
          <p:nvPr>
            <p:ph type="body" sz="quarter" idx="34" hasCustomPrompt="1"/>
          </p:nvPr>
        </p:nvSpPr>
        <p:spPr>
          <a:xfrm>
            <a:off x="2379118" y="5155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29" name="Picture Placeholder 7">
            <a:extLst>
              <a:ext uri="{FF2B5EF4-FFF2-40B4-BE49-F238E27FC236}">
                <a16:creationId xmlns:a16="http://schemas.microsoft.com/office/drawing/2014/main" id="{820AB5A6-040E-7444-A303-397B423E04B0}"/>
              </a:ext>
            </a:extLst>
          </p:cNvPr>
          <p:cNvSpPr>
            <a:spLocks noGrp="1"/>
          </p:cNvSpPr>
          <p:nvPr>
            <p:ph type="pic" sz="quarter" idx="35"/>
          </p:nvPr>
        </p:nvSpPr>
        <p:spPr>
          <a:xfrm>
            <a:off x="2761705" y="3870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30" name="Text Placeholder 4">
            <a:extLst>
              <a:ext uri="{FF2B5EF4-FFF2-40B4-BE49-F238E27FC236}">
                <a16:creationId xmlns:a16="http://schemas.microsoft.com/office/drawing/2014/main" id="{511F3BD3-8995-1046-8A62-EA88A88290BA}"/>
              </a:ext>
            </a:extLst>
          </p:cNvPr>
          <p:cNvSpPr>
            <a:spLocks noGrp="1"/>
          </p:cNvSpPr>
          <p:nvPr>
            <p:ph type="body" sz="quarter" idx="36" hasCustomPrompt="1"/>
          </p:nvPr>
        </p:nvSpPr>
        <p:spPr>
          <a:xfrm>
            <a:off x="4308035" y="4905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31" name="Text Placeholder 4">
            <a:extLst>
              <a:ext uri="{FF2B5EF4-FFF2-40B4-BE49-F238E27FC236}">
                <a16:creationId xmlns:a16="http://schemas.microsoft.com/office/drawing/2014/main" id="{D9600E0F-D874-F846-849D-FD682311EC4A}"/>
              </a:ext>
            </a:extLst>
          </p:cNvPr>
          <p:cNvSpPr>
            <a:spLocks noGrp="1"/>
          </p:cNvSpPr>
          <p:nvPr>
            <p:ph type="body" sz="quarter" idx="37" hasCustomPrompt="1"/>
          </p:nvPr>
        </p:nvSpPr>
        <p:spPr>
          <a:xfrm>
            <a:off x="4308035" y="5155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32" name="Picture Placeholder 7">
            <a:extLst>
              <a:ext uri="{FF2B5EF4-FFF2-40B4-BE49-F238E27FC236}">
                <a16:creationId xmlns:a16="http://schemas.microsoft.com/office/drawing/2014/main" id="{C76A1F97-0A75-BD4D-BA6D-656B14A955D1}"/>
              </a:ext>
            </a:extLst>
          </p:cNvPr>
          <p:cNvSpPr>
            <a:spLocks noGrp="1"/>
          </p:cNvSpPr>
          <p:nvPr>
            <p:ph type="pic" sz="quarter" idx="38"/>
          </p:nvPr>
        </p:nvSpPr>
        <p:spPr>
          <a:xfrm>
            <a:off x="4690622" y="3870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33" name="Text Placeholder 4">
            <a:extLst>
              <a:ext uri="{FF2B5EF4-FFF2-40B4-BE49-F238E27FC236}">
                <a16:creationId xmlns:a16="http://schemas.microsoft.com/office/drawing/2014/main" id="{CD916EA2-8B5B-7749-9833-BD3AAEB0BA64}"/>
              </a:ext>
            </a:extLst>
          </p:cNvPr>
          <p:cNvSpPr>
            <a:spLocks noGrp="1"/>
          </p:cNvSpPr>
          <p:nvPr>
            <p:ph type="body" sz="quarter" idx="39" hasCustomPrompt="1"/>
          </p:nvPr>
        </p:nvSpPr>
        <p:spPr>
          <a:xfrm>
            <a:off x="6216928" y="4905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34" name="Text Placeholder 4">
            <a:extLst>
              <a:ext uri="{FF2B5EF4-FFF2-40B4-BE49-F238E27FC236}">
                <a16:creationId xmlns:a16="http://schemas.microsoft.com/office/drawing/2014/main" id="{2B761728-8BB5-7C4B-A669-4B3DA236D655}"/>
              </a:ext>
            </a:extLst>
          </p:cNvPr>
          <p:cNvSpPr>
            <a:spLocks noGrp="1"/>
          </p:cNvSpPr>
          <p:nvPr>
            <p:ph type="body" sz="quarter" idx="40" hasCustomPrompt="1"/>
          </p:nvPr>
        </p:nvSpPr>
        <p:spPr>
          <a:xfrm>
            <a:off x="6216928" y="5155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35" name="Picture Placeholder 7">
            <a:extLst>
              <a:ext uri="{FF2B5EF4-FFF2-40B4-BE49-F238E27FC236}">
                <a16:creationId xmlns:a16="http://schemas.microsoft.com/office/drawing/2014/main" id="{468D7D8C-1D74-7749-ACAE-DD956F429E07}"/>
              </a:ext>
            </a:extLst>
          </p:cNvPr>
          <p:cNvSpPr>
            <a:spLocks noGrp="1"/>
          </p:cNvSpPr>
          <p:nvPr>
            <p:ph type="pic" sz="quarter" idx="41"/>
          </p:nvPr>
        </p:nvSpPr>
        <p:spPr>
          <a:xfrm>
            <a:off x="6599515" y="3870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36" name="Text Placeholder 4">
            <a:extLst>
              <a:ext uri="{FF2B5EF4-FFF2-40B4-BE49-F238E27FC236}">
                <a16:creationId xmlns:a16="http://schemas.microsoft.com/office/drawing/2014/main" id="{5115002D-A2C1-3D47-8436-81012F937E85}"/>
              </a:ext>
            </a:extLst>
          </p:cNvPr>
          <p:cNvSpPr>
            <a:spLocks noGrp="1"/>
          </p:cNvSpPr>
          <p:nvPr>
            <p:ph type="body" sz="quarter" idx="42" hasCustomPrompt="1"/>
          </p:nvPr>
        </p:nvSpPr>
        <p:spPr>
          <a:xfrm>
            <a:off x="8139170" y="4905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37" name="Text Placeholder 4">
            <a:extLst>
              <a:ext uri="{FF2B5EF4-FFF2-40B4-BE49-F238E27FC236}">
                <a16:creationId xmlns:a16="http://schemas.microsoft.com/office/drawing/2014/main" id="{52CA7F72-BC77-AB40-96F2-E54F449FEBA0}"/>
              </a:ext>
            </a:extLst>
          </p:cNvPr>
          <p:cNvSpPr>
            <a:spLocks noGrp="1"/>
          </p:cNvSpPr>
          <p:nvPr>
            <p:ph type="body" sz="quarter" idx="43" hasCustomPrompt="1"/>
          </p:nvPr>
        </p:nvSpPr>
        <p:spPr>
          <a:xfrm>
            <a:off x="8139170" y="5155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38" name="Picture Placeholder 7">
            <a:extLst>
              <a:ext uri="{FF2B5EF4-FFF2-40B4-BE49-F238E27FC236}">
                <a16:creationId xmlns:a16="http://schemas.microsoft.com/office/drawing/2014/main" id="{C2C35CCF-59F6-C041-BA4A-796054E77C0F}"/>
              </a:ext>
            </a:extLst>
          </p:cNvPr>
          <p:cNvSpPr>
            <a:spLocks noGrp="1"/>
          </p:cNvSpPr>
          <p:nvPr>
            <p:ph type="pic" sz="quarter" idx="44"/>
          </p:nvPr>
        </p:nvSpPr>
        <p:spPr>
          <a:xfrm>
            <a:off x="8521757" y="3870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39" name="Text Placeholder 4">
            <a:extLst>
              <a:ext uri="{FF2B5EF4-FFF2-40B4-BE49-F238E27FC236}">
                <a16:creationId xmlns:a16="http://schemas.microsoft.com/office/drawing/2014/main" id="{EE03E675-6CAE-E140-A3D4-6495DA757EAB}"/>
              </a:ext>
            </a:extLst>
          </p:cNvPr>
          <p:cNvSpPr>
            <a:spLocks noGrp="1"/>
          </p:cNvSpPr>
          <p:nvPr>
            <p:ph type="body" sz="quarter" idx="45" hasCustomPrompt="1"/>
          </p:nvPr>
        </p:nvSpPr>
        <p:spPr>
          <a:xfrm>
            <a:off x="10054738" y="4905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40" name="Text Placeholder 4">
            <a:extLst>
              <a:ext uri="{FF2B5EF4-FFF2-40B4-BE49-F238E27FC236}">
                <a16:creationId xmlns:a16="http://schemas.microsoft.com/office/drawing/2014/main" id="{8B051DED-7DBA-954E-84D8-696F32F899B8}"/>
              </a:ext>
            </a:extLst>
          </p:cNvPr>
          <p:cNvSpPr>
            <a:spLocks noGrp="1"/>
          </p:cNvSpPr>
          <p:nvPr>
            <p:ph type="body" sz="quarter" idx="46" hasCustomPrompt="1"/>
          </p:nvPr>
        </p:nvSpPr>
        <p:spPr>
          <a:xfrm>
            <a:off x="10054738" y="5155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41" name="Picture Placeholder 7">
            <a:extLst>
              <a:ext uri="{FF2B5EF4-FFF2-40B4-BE49-F238E27FC236}">
                <a16:creationId xmlns:a16="http://schemas.microsoft.com/office/drawing/2014/main" id="{CFF36F95-2DB5-7F47-A3F3-20BF39ADC5A8}"/>
              </a:ext>
            </a:extLst>
          </p:cNvPr>
          <p:cNvSpPr>
            <a:spLocks noGrp="1"/>
          </p:cNvSpPr>
          <p:nvPr>
            <p:ph type="pic" sz="quarter" idx="47"/>
          </p:nvPr>
        </p:nvSpPr>
        <p:spPr>
          <a:xfrm>
            <a:off x="10437325" y="3870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4" name="Text Placeholder 3">
            <a:extLst>
              <a:ext uri="{FF2B5EF4-FFF2-40B4-BE49-F238E27FC236}">
                <a16:creationId xmlns:a16="http://schemas.microsoft.com/office/drawing/2014/main" id="{A5D78FFD-DE70-214B-53FB-413EABED71C7}"/>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6525380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Up 1 ">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p>
            <a:r>
              <a:rPr lang="en-US" dirty="0"/>
              <a:t>Click to edit master title style</a:t>
            </a:r>
          </a:p>
        </p:txBody>
      </p:sp>
      <p:cxnSp>
        <p:nvCxnSpPr>
          <p:cNvPr id="13" name="Straight Connector 12">
            <a:extLst>
              <a:ext uri="{FF2B5EF4-FFF2-40B4-BE49-F238E27FC236}">
                <a16:creationId xmlns:a16="http://schemas.microsoft.com/office/drawing/2014/main" id="{2C6E06F0-2580-5A49-98CA-34E91A0D2C89}"/>
              </a:ext>
            </a:extLst>
          </p:cNvPr>
          <p:cNvCxnSpPr>
            <a:cxnSpLocks/>
          </p:cNvCxnSpPr>
          <p:nvPr userDrawn="1"/>
        </p:nvCxnSpPr>
        <p:spPr>
          <a:xfrm>
            <a:off x="6099533" y="1677410"/>
            <a:ext cx="0" cy="187118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B9996DA-4693-AF44-A11B-9EE0B94D1690}"/>
              </a:ext>
            </a:extLst>
          </p:cNvPr>
          <p:cNvCxnSpPr>
            <a:cxnSpLocks/>
          </p:cNvCxnSpPr>
          <p:nvPr userDrawn="1"/>
        </p:nvCxnSpPr>
        <p:spPr>
          <a:xfrm>
            <a:off x="6099533" y="4014884"/>
            <a:ext cx="0" cy="187118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F416A43-9211-2E49-BAB8-1BD8D9816424}"/>
              </a:ext>
            </a:extLst>
          </p:cNvPr>
          <p:cNvCxnSpPr/>
          <p:nvPr userDrawn="1"/>
        </p:nvCxnSpPr>
        <p:spPr>
          <a:xfrm flipH="1">
            <a:off x="457200" y="3781741"/>
            <a:ext cx="545915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85D7B38-0887-2F46-8E24-5542606312A7}"/>
              </a:ext>
            </a:extLst>
          </p:cNvPr>
          <p:cNvCxnSpPr/>
          <p:nvPr userDrawn="1"/>
        </p:nvCxnSpPr>
        <p:spPr>
          <a:xfrm flipH="1">
            <a:off x="6282717" y="3781741"/>
            <a:ext cx="545915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4849FDE5-105E-BE4B-A853-CB71E6171367}"/>
              </a:ext>
            </a:extLst>
          </p:cNvPr>
          <p:cNvSpPr>
            <a:spLocks noGrp="1"/>
          </p:cNvSpPr>
          <p:nvPr>
            <p:ph type="body" sz="quarter" idx="10" hasCustomPrompt="1"/>
          </p:nvPr>
        </p:nvSpPr>
        <p:spPr>
          <a:xfrm>
            <a:off x="902497" y="2223070"/>
            <a:ext cx="1329714" cy="983745"/>
          </a:xfrm>
        </p:spPr>
        <p:txBody>
          <a:bodyPr/>
          <a:lstStyle>
            <a:lvl1pPr>
              <a:defRPr sz="6800" b="0" i="0">
                <a:solidFill>
                  <a:schemeClr val="accent2"/>
                </a:solidFill>
                <a:latin typeface="Elevance Sans Medium" pitchFamily="2" charset="0"/>
              </a:defRPr>
            </a:lvl1pPr>
          </a:lstStyle>
          <a:p>
            <a:pPr lvl="0"/>
            <a:r>
              <a:rPr lang="en-US" dirty="0"/>
              <a:t>XX</a:t>
            </a:r>
          </a:p>
        </p:txBody>
      </p:sp>
      <p:sp>
        <p:nvSpPr>
          <p:cNvPr id="18" name="Text Placeholder 16">
            <a:extLst>
              <a:ext uri="{FF2B5EF4-FFF2-40B4-BE49-F238E27FC236}">
                <a16:creationId xmlns:a16="http://schemas.microsoft.com/office/drawing/2014/main" id="{F206106F-2A33-A745-A741-D61DB0867B45}"/>
              </a:ext>
            </a:extLst>
          </p:cNvPr>
          <p:cNvSpPr>
            <a:spLocks noGrp="1"/>
          </p:cNvSpPr>
          <p:nvPr>
            <p:ph type="body" sz="quarter" idx="11" hasCustomPrompt="1"/>
          </p:nvPr>
        </p:nvSpPr>
        <p:spPr>
          <a:xfrm>
            <a:off x="6621980" y="2223070"/>
            <a:ext cx="1329714" cy="983745"/>
          </a:xfrm>
        </p:spPr>
        <p:txBody>
          <a:bodyPr/>
          <a:lstStyle>
            <a:lvl1pPr>
              <a:defRPr sz="6800" b="0" i="0">
                <a:solidFill>
                  <a:schemeClr val="accent2"/>
                </a:solidFill>
                <a:latin typeface="Elevance Sans Medium" pitchFamily="2" charset="0"/>
              </a:defRPr>
            </a:lvl1pPr>
          </a:lstStyle>
          <a:p>
            <a:pPr lvl="0"/>
            <a:r>
              <a:rPr lang="en-US" dirty="0"/>
              <a:t>XX</a:t>
            </a:r>
          </a:p>
        </p:txBody>
      </p:sp>
      <p:sp>
        <p:nvSpPr>
          <p:cNvPr id="19" name="Text Placeholder 16">
            <a:extLst>
              <a:ext uri="{FF2B5EF4-FFF2-40B4-BE49-F238E27FC236}">
                <a16:creationId xmlns:a16="http://schemas.microsoft.com/office/drawing/2014/main" id="{A8E7582B-02F1-674F-A5A3-E9BC144DBB50}"/>
              </a:ext>
            </a:extLst>
          </p:cNvPr>
          <p:cNvSpPr>
            <a:spLocks noGrp="1"/>
          </p:cNvSpPr>
          <p:nvPr>
            <p:ph type="body" sz="quarter" idx="12" hasCustomPrompt="1"/>
          </p:nvPr>
        </p:nvSpPr>
        <p:spPr>
          <a:xfrm>
            <a:off x="902497" y="4302882"/>
            <a:ext cx="1329714" cy="983745"/>
          </a:xfrm>
        </p:spPr>
        <p:txBody>
          <a:bodyPr/>
          <a:lstStyle>
            <a:lvl1pPr>
              <a:defRPr sz="6800" b="0" i="0">
                <a:solidFill>
                  <a:schemeClr val="accent2"/>
                </a:solidFill>
                <a:latin typeface="Elevance Sans Medium" pitchFamily="2" charset="0"/>
              </a:defRPr>
            </a:lvl1pPr>
          </a:lstStyle>
          <a:p>
            <a:pPr lvl="0"/>
            <a:r>
              <a:rPr lang="en-US" dirty="0"/>
              <a:t>XX</a:t>
            </a:r>
          </a:p>
        </p:txBody>
      </p:sp>
      <p:sp>
        <p:nvSpPr>
          <p:cNvPr id="20" name="Text Placeholder 16">
            <a:extLst>
              <a:ext uri="{FF2B5EF4-FFF2-40B4-BE49-F238E27FC236}">
                <a16:creationId xmlns:a16="http://schemas.microsoft.com/office/drawing/2014/main" id="{5BDF288F-53B9-154C-9319-69499F536D3F}"/>
              </a:ext>
            </a:extLst>
          </p:cNvPr>
          <p:cNvSpPr>
            <a:spLocks noGrp="1"/>
          </p:cNvSpPr>
          <p:nvPr>
            <p:ph type="body" sz="quarter" idx="13" hasCustomPrompt="1"/>
          </p:nvPr>
        </p:nvSpPr>
        <p:spPr>
          <a:xfrm>
            <a:off x="6621980" y="4302882"/>
            <a:ext cx="1329714" cy="983745"/>
          </a:xfrm>
        </p:spPr>
        <p:txBody>
          <a:bodyPr/>
          <a:lstStyle>
            <a:lvl1pPr>
              <a:defRPr sz="6800" b="0" i="0">
                <a:solidFill>
                  <a:schemeClr val="accent2"/>
                </a:solidFill>
                <a:latin typeface="Elevance Sans Medium" pitchFamily="2" charset="0"/>
              </a:defRPr>
            </a:lvl1pPr>
          </a:lstStyle>
          <a:p>
            <a:pPr lvl="0"/>
            <a:r>
              <a:rPr lang="en-US" dirty="0"/>
              <a:t>XX</a:t>
            </a:r>
          </a:p>
        </p:txBody>
      </p:sp>
      <p:sp>
        <p:nvSpPr>
          <p:cNvPr id="22" name="Text Placeholder 21">
            <a:extLst>
              <a:ext uri="{FF2B5EF4-FFF2-40B4-BE49-F238E27FC236}">
                <a16:creationId xmlns:a16="http://schemas.microsoft.com/office/drawing/2014/main" id="{7AF18322-8B69-3541-84FE-64063D8B6169}"/>
              </a:ext>
            </a:extLst>
          </p:cNvPr>
          <p:cNvSpPr>
            <a:spLocks noGrp="1"/>
          </p:cNvSpPr>
          <p:nvPr>
            <p:ph type="body" sz="quarter" idx="14"/>
          </p:nvPr>
        </p:nvSpPr>
        <p:spPr>
          <a:xfrm>
            <a:off x="2431850" y="2307195"/>
            <a:ext cx="3273131" cy="833490"/>
          </a:xfrm>
        </p:spPr>
        <p:txBody>
          <a:bodyPr/>
          <a:lstStyle>
            <a:lvl1pPr>
              <a:spcBef>
                <a:spcPts val="0"/>
              </a:spcBef>
              <a:defRPr sz="1400"/>
            </a:lvl1pPr>
            <a:lvl2pPr marL="12700" indent="0">
              <a:spcBef>
                <a:spcPts val="0"/>
              </a:spcBef>
              <a:tabLst/>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3" name="Text Placeholder 21">
            <a:extLst>
              <a:ext uri="{FF2B5EF4-FFF2-40B4-BE49-F238E27FC236}">
                <a16:creationId xmlns:a16="http://schemas.microsoft.com/office/drawing/2014/main" id="{57A54F8C-EE30-B641-981C-F41296996185}"/>
              </a:ext>
            </a:extLst>
          </p:cNvPr>
          <p:cNvSpPr>
            <a:spLocks noGrp="1"/>
          </p:cNvSpPr>
          <p:nvPr>
            <p:ph type="body" sz="quarter" idx="15"/>
          </p:nvPr>
        </p:nvSpPr>
        <p:spPr>
          <a:xfrm>
            <a:off x="8170043" y="2307195"/>
            <a:ext cx="3273131" cy="833490"/>
          </a:xfrm>
        </p:spPr>
        <p:txBody>
          <a:bodyPr/>
          <a:lstStyle>
            <a:lvl1pPr>
              <a:spcBef>
                <a:spcPts val="0"/>
              </a:spcBef>
              <a:defRPr sz="1400"/>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4" name="Text Placeholder 21">
            <a:extLst>
              <a:ext uri="{FF2B5EF4-FFF2-40B4-BE49-F238E27FC236}">
                <a16:creationId xmlns:a16="http://schemas.microsoft.com/office/drawing/2014/main" id="{E20B307F-7584-6E44-A9BF-B92167B86D1E}"/>
              </a:ext>
            </a:extLst>
          </p:cNvPr>
          <p:cNvSpPr>
            <a:spLocks noGrp="1"/>
          </p:cNvSpPr>
          <p:nvPr>
            <p:ph type="body" sz="quarter" idx="16"/>
          </p:nvPr>
        </p:nvSpPr>
        <p:spPr>
          <a:xfrm>
            <a:off x="2431850" y="4413901"/>
            <a:ext cx="3273131" cy="833490"/>
          </a:xfrm>
        </p:spPr>
        <p:txBody>
          <a:bodyPr/>
          <a:lstStyle>
            <a:lvl1pPr>
              <a:spcBef>
                <a:spcPts val="0"/>
              </a:spcBef>
              <a:defRPr sz="1400"/>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5" name="Text Placeholder 21">
            <a:extLst>
              <a:ext uri="{FF2B5EF4-FFF2-40B4-BE49-F238E27FC236}">
                <a16:creationId xmlns:a16="http://schemas.microsoft.com/office/drawing/2014/main" id="{243BEEFB-1A86-4945-8F20-66E3C9ADFBC7}"/>
              </a:ext>
            </a:extLst>
          </p:cNvPr>
          <p:cNvSpPr>
            <a:spLocks noGrp="1"/>
          </p:cNvSpPr>
          <p:nvPr>
            <p:ph type="body" sz="quarter" idx="17"/>
          </p:nvPr>
        </p:nvSpPr>
        <p:spPr>
          <a:xfrm>
            <a:off x="8170043" y="4413901"/>
            <a:ext cx="3273131" cy="833490"/>
          </a:xfrm>
        </p:spPr>
        <p:txBody>
          <a:bodyPr/>
          <a:lstStyle>
            <a:lvl1pPr>
              <a:spcBef>
                <a:spcPts val="0"/>
              </a:spcBef>
              <a:defRPr sz="1400"/>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 name="Text Placeholder 3">
            <a:extLst>
              <a:ext uri="{FF2B5EF4-FFF2-40B4-BE49-F238E27FC236}">
                <a16:creationId xmlns:a16="http://schemas.microsoft.com/office/drawing/2014/main" id="{9CF1B548-CDEC-0357-4EBC-B303CD144449}"/>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3879233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Up 2">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F675797-F0AF-7D47-B826-B1C69AB2E373}"/>
              </a:ext>
            </a:extLst>
          </p:cNvPr>
          <p:cNvSpPr>
            <a:spLocks noGrp="1"/>
          </p:cNvSpPr>
          <p:nvPr>
            <p:ph type="body" sz="quarter" idx="18"/>
          </p:nvPr>
        </p:nvSpPr>
        <p:spPr>
          <a:xfrm>
            <a:off x="457200" y="1737622"/>
            <a:ext cx="5605272" cy="2092698"/>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3" name="Text Placeholder 4">
            <a:extLst>
              <a:ext uri="{FF2B5EF4-FFF2-40B4-BE49-F238E27FC236}">
                <a16:creationId xmlns:a16="http://schemas.microsoft.com/office/drawing/2014/main" id="{7F6EDBC3-168B-CF46-BFC4-E8C95CFB3499}"/>
              </a:ext>
            </a:extLst>
          </p:cNvPr>
          <p:cNvSpPr>
            <a:spLocks noGrp="1"/>
          </p:cNvSpPr>
          <p:nvPr>
            <p:ph type="body" sz="quarter" idx="19"/>
          </p:nvPr>
        </p:nvSpPr>
        <p:spPr>
          <a:xfrm>
            <a:off x="6126480" y="1737622"/>
            <a:ext cx="5605272" cy="2092698"/>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4" name="Text Placeholder 4">
            <a:extLst>
              <a:ext uri="{FF2B5EF4-FFF2-40B4-BE49-F238E27FC236}">
                <a16:creationId xmlns:a16="http://schemas.microsoft.com/office/drawing/2014/main" id="{0CE2A664-C16E-5147-9B30-8AD5A22398E3}"/>
              </a:ext>
            </a:extLst>
          </p:cNvPr>
          <p:cNvSpPr>
            <a:spLocks noGrp="1"/>
          </p:cNvSpPr>
          <p:nvPr>
            <p:ph type="body" sz="quarter" idx="20"/>
          </p:nvPr>
        </p:nvSpPr>
        <p:spPr>
          <a:xfrm>
            <a:off x="457200" y="3905766"/>
            <a:ext cx="5605272" cy="2092698"/>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5" name="Text Placeholder 4">
            <a:extLst>
              <a:ext uri="{FF2B5EF4-FFF2-40B4-BE49-F238E27FC236}">
                <a16:creationId xmlns:a16="http://schemas.microsoft.com/office/drawing/2014/main" id="{61CE08F7-4DC1-5549-B0ED-CCB370F612C8}"/>
              </a:ext>
            </a:extLst>
          </p:cNvPr>
          <p:cNvSpPr>
            <a:spLocks noGrp="1"/>
          </p:cNvSpPr>
          <p:nvPr>
            <p:ph type="body" sz="quarter" idx="21"/>
          </p:nvPr>
        </p:nvSpPr>
        <p:spPr>
          <a:xfrm>
            <a:off x="6126480" y="3905766"/>
            <a:ext cx="5605272" cy="2092698"/>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23" name="Text Placeholder 21">
            <a:extLst>
              <a:ext uri="{FF2B5EF4-FFF2-40B4-BE49-F238E27FC236}">
                <a16:creationId xmlns:a16="http://schemas.microsoft.com/office/drawing/2014/main" id="{57A54F8C-EE30-B641-981C-F41296996185}"/>
              </a:ext>
            </a:extLst>
          </p:cNvPr>
          <p:cNvSpPr>
            <a:spLocks noGrp="1"/>
          </p:cNvSpPr>
          <p:nvPr>
            <p:ph type="body" sz="quarter" idx="15"/>
          </p:nvPr>
        </p:nvSpPr>
        <p:spPr>
          <a:xfrm>
            <a:off x="6690868" y="2311643"/>
            <a:ext cx="4183320" cy="1049059"/>
          </a:xfrm>
        </p:spPr>
        <p:txBody>
          <a:bodyPr/>
          <a:lstStyle>
            <a:lvl1pPr>
              <a:spcBef>
                <a:spcPts val="0"/>
              </a:spcBef>
              <a:defRPr sz="1600"/>
            </a:lvl1pPr>
            <a:lvl2pPr>
              <a:spcBef>
                <a:spcPts val="0"/>
              </a:spcBef>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2" name="Text Placeholder 21">
            <a:extLst>
              <a:ext uri="{FF2B5EF4-FFF2-40B4-BE49-F238E27FC236}">
                <a16:creationId xmlns:a16="http://schemas.microsoft.com/office/drawing/2014/main" id="{7AF18322-8B69-3541-84FE-64063D8B6169}"/>
              </a:ext>
            </a:extLst>
          </p:cNvPr>
          <p:cNvSpPr>
            <a:spLocks noGrp="1"/>
          </p:cNvSpPr>
          <p:nvPr>
            <p:ph type="body" sz="quarter" idx="14"/>
          </p:nvPr>
        </p:nvSpPr>
        <p:spPr>
          <a:xfrm>
            <a:off x="997498" y="2311643"/>
            <a:ext cx="4183320" cy="1049059"/>
          </a:xfrm>
        </p:spPr>
        <p:txBody>
          <a:bodyPr/>
          <a:lstStyle>
            <a:lvl1pPr>
              <a:spcBef>
                <a:spcPts val="0"/>
              </a:spcBef>
              <a:defRPr sz="1600"/>
            </a:lvl1pPr>
            <a:lvl2pPr>
              <a:spcBef>
                <a:spcPts val="0"/>
              </a:spcBef>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4" name="Text Placeholder 21">
            <a:extLst>
              <a:ext uri="{FF2B5EF4-FFF2-40B4-BE49-F238E27FC236}">
                <a16:creationId xmlns:a16="http://schemas.microsoft.com/office/drawing/2014/main" id="{E20B307F-7584-6E44-A9BF-B92167B86D1E}"/>
              </a:ext>
            </a:extLst>
          </p:cNvPr>
          <p:cNvSpPr>
            <a:spLocks noGrp="1"/>
          </p:cNvSpPr>
          <p:nvPr>
            <p:ph type="body" sz="quarter" idx="16"/>
          </p:nvPr>
        </p:nvSpPr>
        <p:spPr>
          <a:xfrm>
            <a:off x="997498" y="4471056"/>
            <a:ext cx="4183320" cy="1049059"/>
          </a:xfrm>
        </p:spPr>
        <p:txBody>
          <a:bodyPr/>
          <a:lstStyle>
            <a:lvl1pPr>
              <a:spcBef>
                <a:spcPts val="0"/>
              </a:spcBef>
              <a:defRPr sz="1600"/>
            </a:lvl1pPr>
            <a:lvl2pPr>
              <a:spcBef>
                <a:spcPts val="0"/>
              </a:spcBef>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5" name="Text Placeholder 21">
            <a:extLst>
              <a:ext uri="{FF2B5EF4-FFF2-40B4-BE49-F238E27FC236}">
                <a16:creationId xmlns:a16="http://schemas.microsoft.com/office/drawing/2014/main" id="{243BEEFB-1A86-4945-8F20-66E3C9ADFBC7}"/>
              </a:ext>
            </a:extLst>
          </p:cNvPr>
          <p:cNvSpPr>
            <a:spLocks noGrp="1"/>
          </p:cNvSpPr>
          <p:nvPr>
            <p:ph type="body" sz="quarter" idx="17"/>
          </p:nvPr>
        </p:nvSpPr>
        <p:spPr>
          <a:xfrm>
            <a:off x="6690868" y="4471056"/>
            <a:ext cx="4183320" cy="1049059"/>
          </a:xfrm>
        </p:spPr>
        <p:txBody>
          <a:bodyPr/>
          <a:lstStyle>
            <a:lvl1pPr>
              <a:spcBef>
                <a:spcPts val="0"/>
              </a:spcBef>
              <a:defRPr sz="1600"/>
            </a:lvl1pPr>
            <a:lvl2pPr>
              <a:spcBef>
                <a:spcPts val="0"/>
              </a:spcBef>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p>
            <a:r>
              <a:rPr lang="en-US" dirty="0"/>
              <a:t>Click to edit master title style</a:t>
            </a:r>
          </a:p>
        </p:txBody>
      </p:sp>
      <p:sp>
        <p:nvSpPr>
          <p:cNvPr id="2" name="Text Placeholder 3">
            <a:extLst>
              <a:ext uri="{FF2B5EF4-FFF2-40B4-BE49-F238E27FC236}">
                <a16:creationId xmlns:a16="http://schemas.microsoft.com/office/drawing/2014/main" id="{FFF28754-4F75-7990-4BE9-3A42D01E3EAD}"/>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5967934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our Up 3">
    <p:spTree>
      <p:nvGrpSpPr>
        <p:cNvPr id="1" name=""/>
        <p:cNvGrpSpPr/>
        <p:nvPr/>
      </p:nvGrpSpPr>
      <p:grpSpPr>
        <a:xfrm>
          <a:off x="0" y="0"/>
          <a:ext cx="0" cy="0"/>
          <a:chOff x="0" y="0"/>
          <a:chExt cx="0" cy="0"/>
        </a:xfrm>
      </p:grpSpPr>
      <p:sp>
        <p:nvSpPr>
          <p:cNvPr id="37" name="Text Placeholder 4">
            <a:extLst>
              <a:ext uri="{FF2B5EF4-FFF2-40B4-BE49-F238E27FC236}">
                <a16:creationId xmlns:a16="http://schemas.microsoft.com/office/drawing/2014/main" id="{875F6157-AD74-F941-B422-398794332098}"/>
              </a:ext>
            </a:extLst>
          </p:cNvPr>
          <p:cNvSpPr>
            <a:spLocks noGrp="1"/>
          </p:cNvSpPr>
          <p:nvPr>
            <p:ph type="body" sz="quarter" idx="19"/>
          </p:nvPr>
        </p:nvSpPr>
        <p:spPr>
          <a:xfrm>
            <a:off x="4684391" y="1737621"/>
            <a:ext cx="2327987" cy="4269479"/>
          </a:xfrm>
          <a:solidFill>
            <a:srgbClr val="F5F5F5"/>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8" name="Text Placeholder 4">
            <a:extLst>
              <a:ext uri="{FF2B5EF4-FFF2-40B4-BE49-F238E27FC236}">
                <a16:creationId xmlns:a16="http://schemas.microsoft.com/office/drawing/2014/main" id="{0B9D8E76-D2A2-5648-B2DB-A62CD2D6A61B}"/>
              </a:ext>
            </a:extLst>
          </p:cNvPr>
          <p:cNvSpPr>
            <a:spLocks noGrp="1"/>
          </p:cNvSpPr>
          <p:nvPr>
            <p:ph type="body" sz="quarter" idx="20"/>
          </p:nvPr>
        </p:nvSpPr>
        <p:spPr>
          <a:xfrm>
            <a:off x="7044077" y="1737621"/>
            <a:ext cx="2327987" cy="4269479"/>
          </a:xfrm>
          <a:solidFill>
            <a:srgbClr val="F5F5F5"/>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9" name="Text Placeholder 4">
            <a:extLst>
              <a:ext uri="{FF2B5EF4-FFF2-40B4-BE49-F238E27FC236}">
                <a16:creationId xmlns:a16="http://schemas.microsoft.com/office/drawing/2014/main" id="{20492DC6-9657-A84D-AA7B-58D54CBB7A2A}"/>
              </a:ext>
            </a:extLst>
          </p:cNvPr>
          <p:cNvSpPr>
            <a:spLocks noGrp="1"/>
          </p:cNvSpPr>
          <p:nvPr>
            <p:ph type="body" sz="quarter" idx="21"/>
          </p:nvPr>
        </p:nvSpPr>
        <p:spPr>
          <a:xfrm>
            <a:off x="9403763" y="1737621"/>
            <a:ext cx="2327987" cy="4269479"/>
          </a:xfrm>
          <a:solidFill>
            <a:srgbClr val="F5F5F5"/>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43" name="Text Placeholder 7">
            <a:extLst>
              <a:ext uri="{FF2B5EF4-FFF2-40B4-BE49-F238E27FC236}">
                <a16:creationId xmlns:a16="http://schemas.microsoft.com/office/drawing/2014/main" id="{7C67F79F-A16B-8F48-A460-2D06F52DCC63}"/>
              </a:ext>
            </a:extLst>
          </p:cNvPr>
          <p:cNvSpPr>
            <a:spLocks noGrp="1"/>
          </p:cNvSpPr>
          <p:nvPr>
            <p:ph type="body" sz="quarter" idx="27"/>
          </p:nvPr>
        </p:nvSpPr>
        <p:spPr>
          <a:xfrm>
            <a:off x="7275725" y="2629502"/>
            <a:ext cx="1802369" cy="2976168"/>
          </a:xfrm>
        </p:spPr>
        <p:txBody>
          <a:bodyPr/>
          <a:lstStyle>
            <a:lvl1pPr>
              <a:defRPr sz="1400" b="0" i="0">
                <a:latin typeface="Elevance Sans" pitchFamily="2" charset="77"/>
              </a:defRPr>
            </a:lvl1pPr>
          </a:lstStyle>
          <a:p>
            <a:pPr lvl="0"/>
            <a:r>
              <a:rPr lang="en-US"/>
              <a:t>Click to edit Master text styles</a:t>
            </a:r>
          </a:p>
        </p:txBody>
      </p:sp>
      <p:sp>
        <p:nvSpPr>
          <p:cNvPr id="8" name="Text Placeholder 7">
            <a:extLst>
              <a:ext uri="{FF2B5EF4-FFF2-40B4-BE49-F238E27FC236}">
                <a16:creationId xmlns:a16="http://schemas.microsoft.com/office/drawing/2014/main" id="{4C09F171-D2FC-724F-A2F1-83AC74A0C414}"/>
              </a:ext>
            </a:extLst>
          </p:cNvPr>
          <p:cNvSpPr>
            <a:spLocks noGrp="1"/>
          </p:cNvSpPr>
          <p:nvPr>
            <p:ph type="body" sz="quarter" idx="26"/>
          </p:nvPr>
        </p:nvSpPr>
        <p:spPr>
          <a:xfrm>
            <a:off x="4939795" y="2629502"/>
            <a:ext cx="1802369" cy="2976168"/>
          </a:xfrm>
        </p:spPr>
        <p:txBody>
          <a:bodyPr/>
          <a:lstStyle>
            <a:lvl1pPr>
              <a:defRPr sz="1400" b="0" i="0">
                <a:latin typeface="Elevance Sans" pitchFamily="2" charset="77"/>
              </a:defRPr>
            </a:lvl1pPr>
          </a:lstStyle>
          <a:p>
            <a:pPr lvl="0"/>
            <a:r>
              <a:rPr lang="en-US"/>
              <a:t>Click to edit Master text styles</a:t>
            </a:r>
          </a:p>
        </p:txBody>
      </p:sp>
      <p:sp>
        <p:nvSpPr>
          <p:cNvPr id="44" name="Text Placeholder 7">
            <a:extLst>
              <a:ext uri="{FF2B5EF4-FFF2-40B4-BE49-F238E27FC236}">
                <a16:creationId xmlns:a16="http://schemas.microsoft.com/office/drawing/2014/main" id="{0886DACC-8B94-1049-99F5-38D402063D40}"/>
              </a:ext>
            </a:extLst>
          </p:cNvPr>
          <p:cNvSpPr>
            <a:spLocks noGrp="1"/>
          </p:cNvSpPr>
          <p:nvPr>
            <p:ph type="body" sz="quarter" idx="28"/>
          </p:nvPr>
        </p:nvSpPr>
        <p:spPr>
          <a:xfrm>
            <a:off x="9642278" y="2629502"/>
            <a:ext cx="1802369" cy="2976168"/>
          </a:xfrm>
        </p:spPr>
        <p:txBody>
          <a:bodyPr/>
          <a:lstStyle>
            <a:lvl1pPr>
              <a:defRPr sz="1400" b="0" i="0">
                <a:latin typeface="Elevance Sans"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7FDE759B-B6F2-3D4A-9BFA-89DFE2644693}"/>
              </a:ext>
            </a:extLst>
          </p:cNvPr>
          <p:cNvSpPr>
            <a:spLocks noGrp="1"/>
          </p:cNvSpPr>
          <p:nvPr>
            <p:ph type="body" sz="quarter" idx="18"/>
          </p:nvPr>
        </p:nvSpPr>
        <p:spPr>
          <a:xfrm>
            <a:off x="457200" y="1737621"/>
            <a:ext cx="4195492" cy="4269479"/>
          </a:xfrm>
          <a:solidFill>
            <a:schemeClr val="accent1"/>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6" name="Text Placeholder 5">
            <a:extLst>
              <a:ext uri="{FF2B5EF4-FFF2-40B4-BE49-F238E27FC236}">
                <a16:creationId xmlns:a16="http://schemas.microsoft.com/office/drawing/2014/main" id="{113370B3-825E-D34B-8FDF-7533F97F3B0F}"/>
              </a:ext>
            </a:extLst>
          </p:cNvPr>
          <p:cNvSpPr>
            <a:spLocks noGrp="1"/>
          </p:cNvSpPr>
          <p:nvPr>
            <p:ph type="body" sz="quarter" idx="22" hasCustomPrompt="1"/>
          </p:nvPr>
        </p:nvSpPr>
        <p:spPr>
          <a:xfrm>
            <a:off x="755601" y="1948308"/>
            <a:ext cx="1652266" cy="268434"/>
          </a:xfrm>
        </p:spPr>
        <p:txBody>
          <a:bodyPr/>
          <a:lstStyle>
            <a:lvl1pPr>
              <a:defRPr sz="1500">
                <a:solidFill>
                  <a:schemeClr val="bg1"/>
                </a:solidFill>
              </a:defRPr>
            </a:lvl1pPr>
          </a:lstStyle>
          <a:p>
            <a:pPr lvl="0"/>
            <a:r>
              <a:rPr lang="en-US" dirty="0"/>
              <a:t>Subtitle text</a:t>
            </a:r>
          </a:p>
        </p:txBody>
      </p:sp>
      <p:sp>
        <p:nvSpPr>
          <p:cNvPr id="40" name="Text Placeholder 5">
            <a:extLst>
              <a:ext uri="{FF2B5EF4-FFF2-40B4-BE49-F238E27FC236}">
                <a16:creationId xmlns:a16="http://schemas.microsoft.com/office/drawing/2014/main" id="{5E27056C-29C0-2045-816E-9E902F2F596B}"/>
              </a:ext>
            </a:extLst>
          </p:cNvPr>
          <p:cNvSpPr>
            <a:spLocks noGrp="1"/>
          </p:cNvSpPr>
          <p:nvPr>
            <p:ph type="body" sz="quarter" idx="23" hasCustomPrompt="1"/>
          </p:nvPr>
        </p:nvSpPr>
        <p:spPr>
          <a:xfrm>
            <a:off x="4909237" y="1948308"/>
            <a:ext cx="1652266" cy="268434"/>
          </a:xfrm>
        </p:spPr>
        <p:txBody>
          <a:bodyPr/>
          <a:lstStyle>
            <a:lvl1pPr>
              <a:defRPr sz="1500">
                <a:solidFill>
                  <a:schemeClr val="accent2"/>
                </a:solidFill>
              </a:defRPr>
            </a:lvl1pPr>
          </a:lstStyle>
          <a:p>
            <a:pPr lvl="0"/>
            <a:r>
              <a:rPr lang="en-US" dirty="0"/>
              <a:t>Subtitle text</a:t>
            </a:r>
          </a:p>
        </p:txBody>
      </p:sp>
      <p:sp>
        <p:nvSpPr>
          <p:cNvPr id="41" name="Text Placeholder 5">
            <a:extLst>
              <a:ext uri="{FF2B5EF4-FFF2-40B4-BE49-F238E27FC236}">
                <a16:creationId xmlns:a16="http://schemas.microsoft.com/office/drawing/2014/main" id="{50958210-96E8-1E49-B317-7E8680A7B0A7}"/>
              </a:ext>
            </a:extLst>
          </p:cNvPr>
          <p:cNvSpPr>
            <a:spLocks noGrp="1"/>
          </p:cNvSpPr>
          <p:nvPr>
            <p:ph type="body" sz="quarter" idx="24" hasCustomPrompt="1"/>
          </p:nvPr>
        </p:nvSpPr>
        <p:spPr>
          <a:xfrm>
            <a:off x="7275725" y="1948308"/>
            <a:ext cx="1652266" cy="268434"/>
          </a:xfrm>
        </p:spPr>
        <p:txBody>
          <a:bodyPr/>
          <a:lstStyle>
            <a:lvl1pPr>
              <a:defRPr sz="1500">
                <a:solidFill>
                  <a:schemeClr val="accent2"/>
                </a:solidFill>
              </a:defRPr>
            </a:lvl1pPr>
          </a:lstStyle>
          <a:p>
            <a:pPr lvl="0"/>
            <a:r>
              <a:rPr lang="en-US" dirty="0"/>
              <a:t>Subtitle text</a:t>
            </a:r>
          </a:p>
        </p:txBody>
      </p:sp>
      <p:sp>
        <p:nvSpPr>
          <p:cNvPr id="42" name="Text Placeholder 5">
            <a:extLst>
              <a:ext uri="{FF2B5EF4-FFF2-40B4-BE49-F238E27FC236}">
                <a16:creationId xmlns:a16="http://schemas.microsoft.com/office/drawing/2014/main" id="{9EF4BB56-4511-4D4B-B1CE-7496C1BDBE62}"/>
              </a:ext>
            </a:extLst>
          </p:cNvPr>
          <p:cNvSpPr>
            <a:spLocks noGrp="1"/>
          </p:cNvSpPr>
          <p:nvPr>
            <p:ph type="body" sz="quarter" idx="25" hasCustomPrompt="1"/>
          </p:nvPr>
        </p:nvSpPr>
        <p:spPr>
          <a:xfrm>
            <a:off x="9642278" y="1948308"/>
            <a:ext cx="1652266" cy="268434"/>
          </a:xfrm>
        </p:spPr>
        <p:txBody>
          <a:bodyPr/>
          <a:lstStyle>
            <a:lvl1pPr>
              <a:defRPr sz="1500">
                <a:solidFill>
                  <a:schemeClr val="accent2"/>
                </a:solidFill>
              </a:defRPr>
            </a:lvl1pPr>
          </a:lstStyle>
          <a:p>
            <a:pPr lvl="0"/>
            <a:r>
              <a:rPr lang="en-US" dirty="0"/>
              <a:t>Subtitle text</a:t>
            </a:r>
          </a:p>
        </p:txBody>
      </p:sp>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p>
            <a:r>
              <a:rPr lang="en-US" dirty="0"/>
              <a:t>Click to edit master title style</a:t>
            </a:r>
          </a:p>
        </p:txBody>
      </p:sp>
      <p:sp>
        <p:nvSpPr>
          <p:cNvPr id="45" name="Text Placeholder 7">
            <a:extLst>
              <a:ext uri="{FF2B5EF4-FFF2-40B4-BE49-F238E27FC236}">
                <a16:creationId xmlns:a16="http://schemas.microsoft.com/office/drawing/2014/main" id="{AA5D0AF0-14B5-FB4C-9A3D-38570A770590}"/>
              </a:ext>
            </a:extLst>
          </p:cNvPr>
          <p:cNvSpPr>
            <a:spLocks noGrp="1"/>
          </p:cNvSpPr>
          <p:nvPr>
            <p:ph type="body" sz="quarter" idx="29"/>
          </p:nvPr>
        </p:nvSpPr>
        <p:spPr>
          <a:xfrm>
            <a:off x="2183241" y="2691503"/>
            <a:ext cx="2230936" cy="439148"/>
          </a:xfrm>
        </p:spPr>
        <p:txBody>
          <a:bodyPr/>
          <a:lstStyle>
            <a:lvl1pPr>
              <a:defRPr sz="1400" b="0" i="0">
                <a:solidFill>
                  <a:schemeClr val="bg1"/>
                </a:solidFill>
                <a:latin typeface="Elevance Sans" pitchFamily="2" charset="77"/>
              </a:defRPr>
            </a:lvl1pPr>
          </a:lstStyle>
          <a:p>
            <a:pPr lvl="0"/>
            <a:r>
              <a:rPr lang="en-US"/>
              <a:t>Click to edit Master text styles</a:t>
            </a:r>
          </a:p>
        </p:txBody>
      </p:sp>
      <p:sp>
        <p:nvSpPr>
          <p:cNvPr id="46" name="Text Placeholder 7">
            <a:extLst>
              <a:ext uri="{FF2B5EF4-FFF2-40B4-BE49-F238E27FC236}">
                <a16:creationId xmlns:a16="http://schemas.microsoft.com/office/drawing/2014/main" id="{CEDDFC23-987F-D649-AC0A-8278DC76612B}"/>
              </a:ext>
            </a:extLst>
          </p:cNvPr>
          <p:cNvSpPr>
            <a:spLocks noGrp="1"/>
          </p:cNvSpPr>
          <p:nvPr>
            <p:ph type="body" sz="quarter" idx="30"/>
          </p:nvPr>
        </p:nvSpPr>
        <p:spPr>
          <a:xfrm>
            <a:off x="2183241" y="3548490"/>
            <a:ext cx="2230936" cy="439148"/>
          </a:xfrm>
        </p:spPr>
        <p:txBody>
          <a:bodyPr/>
          <a:lstStyle>
            <a:lvl1pPr>
              <a:defRPr sz="1400" b="0" i="0">
                <a:solidFill>
                  <a:schemeClr val="bg1"/>
                </a:solidFill>
                <a:latin typeface="Elevance Sans" pitchFamily="2" charset="77"/>
              </a:defRPr>
            </a:lvl1pPr>
          </a:lstStyle>
          <a:p>
            <a:pPr lvl="0"/>
            <a:r>
              <a:rPr lang="en-US"/>
              <a:t>Click to edit Master text styles</a:t>
            </a:r>
          </a:p>
        </p:txBody>
      </p:sp>
      <p:sp>
        <p:nvSpPr>
          <p:cNvPr id="47" name="Text Placeholder 7">
            <a:extLst>
              <a:ext uri="{FF2B5EF4-FFF2-40B4-BE49-F238E27FC236}">
                <a16:creationId xmlns:a16="http://schemas.microsoft.com/office/drawing/2014/main" id="{5F06E18E-6C35-ED44-B0A1-A45465982C84}"/>
              </a:ext>
            </a:extLst>
          </p:cNvPr>
          <p:cNvSpPr>
            <a:spLocks noGrp="1"/>
          </p:cNvSpPr>
          <p:nvPr>
            <p:ph type="body" sz="quarter" idx="31"/>
          </p:nvPr>
        </p:nvSpPr>
        <p:spPr>
          <a:xfrm>
            <a:off x="2183241" y="4405478"/>
            <a:ext cx="2230936" cy="439148"/>
          </a:xfrm>
        </p:spPr>
        <p:txBody>
          <a:bodyPr/>
          <a:lstStyle>
            <a:lvl1pPr>
              <a:defRPr sz="1400" b="0" i="0">
                <a:solidFill>
                  <a:schemeClr val="bg1"/>
                </a:solidFill>
                <a:latin typeface="Elevance Sans" pitchFamily="2" charset="77"/>
              </a:defRPr>
            </a:lvl1pPr>
          </a:lstStyle>
          <a:p>
            <a:pPr lvl="0"/>
            <a:r>
              <a:rPr lang="en-US"/>
              <a:t>Click to edit Master text styles</a:t>
            </a:r>
          </a:p>
        </p:txBody>
      </p:sp>
      <p:sp>
        <p:nvSpPr>
          <p:cNvPr id="48" name="Text Placeholder 16">
            <a:extLst>
              <a:ext uri="{FF2B5EF4-FFF2-40B4-BE49-F238E27FC236}">
                <a16:creationId xmlns:a16="http://schemas.microsoft.com/office/drawing/2014/main" id="{466C3108-2271-4849-AC8B-AE3CAA394027}"/>
              </a:ext>
            </a:extLst>
          </p:cNvPr>
          <p:cNvSpPr>
            <a:spLocks noGrp="1"/>
          </p:cNvSpPr>
          <p:nvPr>
            <p:ph type="body" sz="quarter" idx="10" hasCustomPrompt="1"/>
          </p:nvPr>
        </p:nvSpPr>
        <p:spPr>
          <a:xfrm>
            <a:off x="755600" y="2653748"/>
            <a:ext cx="1395941" cy="561942"/>
          </a:xfrm>
        </p:spPr>
        <p:txBody>
          <a:bodyPr anchor="ctr" anchorCtr="0"/>
          <a:lstStyle>
            <a:lvl1pPr>
              <a:defRPr sz="5500" b="0" i="0">
                <a:solidFill>
                  <a:schemeClr val="bg1"/>
                </a:solidFill>
                <a:latin typeface="Elevance Sans Medium" pitchFamily="2" charset="0"/>
              </a:defRPr>
            </a:lvl1pPr>
          </a:lstStyle>
          <a:p>
            <a:pPr lvl="0"/>
            <a:r>
              <a:rPr lang="en-US" dirty="0"/>
              <a:t>XX</a:t>
            </a:r>
          </a:p>
        </p:txBody>
      </p:sp>
      <p:sp>
        <p:nvSpPr>
          <p:cNvPr id="49" name="Text Placeholder 16">
            <a:extLst>
              <a:ext uri="{FF2B5EF4-FFF2-40B4-BE49-F238E27FC236}">
                <a16:creationId xmlns:a16="http://schemas.microsoft.com/office/drawing/2014/main" id="{D5A9143D-7150-AC42-B40F-D5C4B2E4E85B}"/>
              </a:ext>
            </a:extLst>
          </p:cNvPr>
          <p:cNvSpPr>
            <a:spLocks noGrp="1"/>
          </p:cNvSpPr>
          <p:nvPr>
            <p:ph type="body" sz="quarter" idx="32" hasCustomPrompt="1"/>
          </p:nvPr>
        </p:nvSpPr>
        <p:spPr>
          <a:xfrm>
            <a:off x="755600" y="3513481"/>
            <a:ext cx="1395941" cy="561942"/>
          </a:xfrm>
        </p:spPr>
        <p:txBody>
          <a:bodyPr anchor="ctr" anchorCtr="0"/>
          <a:lstStyle>
            <a:lvl1pPr>
              <a:defRPr sz="5500" b="0" i="0">
                <a:solidFill>
                  <a:schemeClr val="bg1"/>
                </a:solidFill>
                <a:latin typeface="Elevance Sans Medium" pitchFamily="2" charset="0"/>
              </a:defRPr>
            </a:lvl1pPr>
          </a:lstStyle>
          <a:p>
            <a:pPr lvl="0"/>
            <a:r>
              <a:rPr lang="en-US" dirty="0"/>
              <a:t>XX</a:t>
            </a:r>
          </a:p>
        </p:txBody>
      </p:sp>
      <p:sp>
        <p:nvSpPr>
          <p:cNvPr id="50" name="Text Placeholder 16">
            <a:extLst>
              <a:ext uri="{FF2B5EF4-FFF2-40B4-BE49-F238E27FC236}">
                <a16:creationId xmlns:a16="http://schemas.microsoft.com/office/drawing/2014/main" id="{7DA7978D-E906-C942-B91D-81151851337D}"/>
              </a:ext>
            </a:extLst>
          </p:cNvPr>
          <p:cNvSpPr>
            <a:spLocks noGrp="1"/>
          </p:cNvSpPr>
          <p:nvPr>
            <p:ph type="body" sz="quarter" idx="33" hasCustomPrompt="1"/>
          </p:nvPr>
        </p:nvSpPr>
        <p:spPr>
          <a:xfrm>
            <a:off x="755600" y="4373214"/>
            <a:ext cx="1395941" cy="561942"/>
          </a:xfrm>
        </p:spPr>
        <p:txBody>
          <a:bodyPr anchor="ctr" anchorCtr="0"/>
          <a:lstStyle>
            <a:lvl1pPr>
              <a:defRPr sz="5500" b="0" i="0">
                <a:solidFill>
                  <a:schemeClr val="bg1"/>
                </a:solidFill>
                <a:latin typeface="Elevance Sans Medium" pitchFamily="2" charset="0"/>
              </a:defRPr>
            </a:lvl1pPr>
          </a:lstStyle>
          <a:p>
            <a:pPr lvl="0"/>
            <a:r>
              <a:rPr lang="en-US" dirty="0"/>
              <a:t>XX</a:t>
            </a:r>
          </a:p>
        </p:txBody>
      </p:sp>
      <p:sp>
        <p:nvSpPr>
          <p:cNvPr id="2" name="Text Placeholder 3">
            <a:extLst>
              <a:ext uri="{FF2B5EF4-FFF2-40B4-BE49-F238E27FC236}">
                <a16:creationId xmlns:a16="http://schemas.microsoft.com/office/drawing/2014/main" id="{7664B9BD-E1FB-3841-D842-75CC9E6088A8}"/>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6897693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Only Purple">
    <p:bg>
      <p:bgPr>
        <a:solidFill>
          <a:srgbClr val="5009B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lvl1pPr>
              <a:defRPr>
                <a:solidFill>
                  <a:schemeClr val="bg1"/>
                </a:solidFill>
              </a:defRPr>
            </a:lvl1pPr>
          </a:lstStyle>
          <a:p>
            <a:r>
              <a:rPr lang="en-US" dirty="0"/>
              <a:t>Click to edit master title style</a:t>
            </a:r>
          </a:p>
        </p:txBody>
      </p:sp>
      <p:sp>
        <p:nvSpPr>
          <p:cNvPr id="6" name="TextBox 5">
            <a:extLst>
              <a:ext uri="{FF2B5EF4-FFF2-40B4-BE49-F238E27FC236}">
                <a16:creationId xmlns:a16="http://schemas.microsoft.com/office/drawing/2014/main" id="{4E4AA359-29EA-5F4F-BDCD-44D77DDDBA39}"/>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pic>
        <p:nvPicPr>
          <p:cNvPr id="8" name="Graphic 7">
            <a:extLst>
              <a:ext uri="{FF2B5EF4-FFF2-40B4-BE49-F238E27FC236}">
                <a16:creationId xmlns:a16="http://schemas.microsoft.com/office/drawing/2014/main" id="{732D85FF-C9D8-F24D-9CA2-21283ABF1C55}"/>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7199" y="6181343"/>
            <a:ext cx="365760" cy="365760"/>
          </a:xfrm>
          <a:prstGeom prst="rect">
            <a:avLst/>
          </a:prstGeom>
        </p:spPr>
      </p:pic>
      <p:sp>
        <p:nvSpPr>
          <p:cNvPr id="2" name="Text Placeholder 3">
            <a:extLst>
              <a:ext uri="{FF2B5EF4-FFF2-40B4-BE49-F238E27FC236}">
                <a16:creationId xmlns:a16="http://schemas.microsoft.com/office/drawing/2014/main" id="{77A41EE8-D2CB-0DB8-13CF-B75EBF63E34A}"/>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659090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Linear Supergraphic">
    <p:spTree>
      <p:nvGrpSpPr>
        <p:cNvPr id="1" name=""/>
        <p:cNvGrpSpPr/>
        <p:nvPr/>
      </p:nvGrpSpPr>
      <p:grpSpPr>
        <a:xfrm>
          <a:off x="0" y="0"/>
          <a:ext cx="0" cy="0"/>
          <a:chOff x="0" y="0"/>
          <a:chExt cx="0" cy="0"/>
        </a:xfrm>
      </p:grpSpPr>
      <p:sp>
        <p:nvSpPr>
          <p:cNvPr id="7" name="Arc 6">
            <a:extLst>
              <a:ext uri="{FF2B5EF4-FFF2-40B4-BE49-F238E27FC236}">
                <a16:creationId xmlns:a16="http://schemas.microsoft.com/office/drawing/2014/main" id="{FE20D0F9-50E8-FC44-9957-5927A5C28D74}"/>
              </a:ext>
            </a:extLst>
          </p:cNvPr>
          <p:cNvSpPr/>
          <p:nvPr/>
        </p:nvSpPr>
        <p:spPr>
          <a:xfrm rot="10800000">
            <a:off x="7700406" y="-5517141"/>
            <a:ext cx="8983187" cy="8983187"/>
          </a:xfrm>
          <a:prstGeom prst="arc">
            <a:avLst>
              <a:gd name="adj1" fmla="val 16200000"/>
              <a:gd name="adj2" fmla="val 20834080"/>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2983117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415088" y="1503979"/>
            <a:ext cx="8349500" cy="1567689"/>
          </a:xfrm>
        </p:spPr>
        <p:txBody>
          <a:bodyPr vert="horz" anchor="b" anchorCtr="0"/>
          <a:lstStyle>
            <a:lvl1pPr algn="l">
              <a:defRPr sz="5200">
                <a:solidFill>
                  <a:schemeClr val="tx1"/>
                </a:solidFill>
              </a:defRPr>
            </a:lvl1pPr>
          </a:lstStyle>
          <a:p>
            <a:r>
              <a:rPr lang="en-US" dirty="0"/>
              <a:t>Click to add  </a:t>
            </a:r>
            <a:br>
              <a:rPr lang="en-US" dirty="0"/>
            </a:br>
            <a:r>
              <a:rPr lang="en-US" dirty="0"/>
              <a:t>presentation title</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415088" y="4517136"/>
            <a:ext cx="5638800" cy="228600"/>
          </a:xfrm>
        </p:spPr>
        <p:txBody>
          <a:bodyPr/>
          <a:lstStyle>
            <a:lvl1pPr marL="0" indent="0" algn="l">
              <a:buNone/>
              <a:defRPr sz="18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cxnSp>
        <p:nvCxnSpPr>
          <p:cNvPr id="5" name="Straight Connector 4">
            <a:extLst>
              <a:ext uri="{FF2B5EF4-FFF2-40B4-BE49-F238E27FC236}">
                <a16:creationId xmlns:a16="http://schemas.microsoft.com/office/drawing/2014/main" id="{48F072A8-8335-584F-BE52-8FBA3F06E93A}"/>
              </a:ext>
            </a:extLst>
          </p:cNvPr>
          <p:cNvCxnSpPr>
            <a:cxnSpLocks/>
          </p:cNvCxnSpPr>
          <p:nvPr/>
        </p:nvCxnSpPr>
        <p:spPr>
          <a:xfrm>
            <a:off x="0" y="3466047"/>
            <a:ext cx="12192000" cy="0"/>
          </a:xfrm>
          <a:prstGeom prst="line">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cxnSp>
      <p:sp>
        <p:nvSpPr>
          <p:cNvPr id="10" name="Arc 9">
            <a:extLst>
              <a:ext uri="{FF2B5EF4-FFF2-40B4-BE49-F238E27FC236}">
                <a16:creationId xmlns:a16="http://schemas.microsoft.com/office/drawing/2014/main" id="{336C828C-5FD5-5842-8A7F-FCDE3E492A7E}"/>
              </a:ext>
            </a:extLst>
          </p:cNvPr>
          <p:cNvSpPr/>
          <p:nvPr/>
        </p:nvSpPr>
        <p:spPr>
          <a:xfrm rot="16200000">
            <a:off x="7700406" y="3466048"/>
            <a:ext cx="8983187" cy="8983187"/>
          </a:xfrm>
          <a:prstGeom prst="arc">
            <a:avLst>
              <a:gd name="adj1" fmla="val 17028583"/>
              <a:gd name="adj2" fmla="val 0"/>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sp>
        <p:nvSpPr>
          <p:cNvPr id="9" name="Text Placeholder 11">
            <a:extLst>
              <a:ext uri="{FF2B5EF4-FFF2-40B4-BE49-F238E27FC236}">
                <a16:creationId xmlns:a16="http://schemas.microsoft.com/office/drawing/2014/main" id="{7DD3FC0C-5E28-CC45-ACF0-E5E428993029}"/>
              </a:ext>
            </a:extLst>
          </p:cNvPr>
          <p:cNvSpPr>
            <a:spLocks noGrp="1"/>
          </p:cNvSpPr>
          <p:nvPr>
            <p:ph type="body" sz="quarter" idx="11" hasCustomPrompt="1"/>
          </p:nvPr>
        </p:nvSpPr>
        <p:spPr>
          <a:xfrm>
            <a:off x="415088" y="4758997"/>
            <a:ext cx="5638800" cy="224536"/>
          </a:xfrm>
        </p:spPr>
        <p:txBody>
          <a:bodyPr/>
          <a:lstStyle>
            <a:lvl1pPr marL="0" indent="0">
              <a:lnSpc>
                <a:spcPct val="100000"/>
              </a:lnSpc>
              <a:buNone/>
              <a:defRPr sz="1800" b="0" i="0">
                <a:latin typeface="+mn-lt"/>
              </a:defRPr>
            </a:lvl1pPr>
          </a:lstStyle>
          <a:p>
            <a:pPr lvl="0"/>
            <a:r>
              <a:rPr lang="en-US" dirty="0"/>
              <a:t>Click to add date</a:t>
            </a:r>
          </a:p>
        </p:txBody>
      </p:sp>
      <p:pic>
        <p:nvPicPr>
          <p:cNvPr id="11" name="Graphic 10">
            <a:extLst>
              <a:ext uri="{FF2B5EF4-FFF2-40B4-BE49-F238E27FC236}">
                <a16:creationId xmlns:a16="http://schemas.microsoft.com/office/drawing/2014/main" id="{8601F0BF-5A2B-B680-F581-8792F532A6AA}"/>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93341" y="578424"/>
            <a:ext cx="1785575" cy="384339"/>
          </a:xfrm>
          <a:prstGeom prst="rect">
            <a:avLst/>
          </a:prstGeom>
        </p:spPr>
      </p:pic>
    </p:spTree>
    <p:extLst>
      <p:ext uri="{BB962C8B-B14F-4D97-AF65-F5344CB8AC3E}">
        <p14:creationId xmlns:p14="http://schemas.microsoft.com/office/powerpoint/2010/main" val="26418031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Only Dark Purple">
    <p:bg>
      <p:bgPr>
        <a:solidFill>
          <a:srgbClr val="2B1B49"/>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lvl1pPr>
              <a:defRPr>
                <a:solidFill>
                  <a:schemeClr val="bg1"/>
                </a:solidFill>
              </a:defRPr>
            </a:lvl1pPr>
          </a:lstStyle>
          <a:p>
            <a:r>
              <a:rPr lang="en-US" dirty="0"/>
              <a:t>Click to edit master title style</a:t>
            </a:r>
          </a:p>
        </p:txBody>
      </p:sp>
      <p:sp>
        <p:nvSpPr>
          <p:cNvPr id="6" name="TextBox 5">
            <a:extLst>
              <a:ext uri="{FF2B5EF4-FFF2-40B4-BE49-F238E27FC236}">
                <a16:creationId xmlns:a16="http://schemas.microsoft.com/office/drawing/2014/main" id="{4E4AA359-29EA-5F4F-BDCD-44D77DDDBA39}"/>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pic>
        <p:nvPicPr>
          <p:cNvPr id="8" name="Graphic 7">
            <a:extLst>
              <a:ext uri="{FF2B5EF4-FFF2-40B4-BE49-F238E27FC236}">
                <a16:creationId xmlns:a16="http://schemas.microsoft.com/office/drawing/2014/main" id="{732D85FF-C9D8-F24D-9CA2-21283ABF1C55}"/>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7199" y="6181343"/>
            <a:ext cx="365760" cy="365760"/>
          </a:xfrm>
          <a:prstGeom prst="rect">
            <a:avLst/>
          </a:prstGeom>
        </p:spPr>
      </p:pic>
      <p:sp>
        <p:nvSpPr>
          <p:cNvPr id="2" name="Text Placeholder 3">
            <a:extLst>
              <a:ext uri="{FF2B5EF4-FFF2-40B4-BE49-F238E27FC236}">
                <a16:creationId xmlns:a16="http://schemas.microsoft.com/office/drawing/2014/main" id="{F7A1AA02-6FCC-5AD9-5743-47F41F4C42D7}"/>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0159387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6D864AB1-FA21-E948-BBC5-87E7C74C69C3}"/>
              </a:ext>
            </a:extLst>
          </p:cNvPr>
          <p:cNvSpPr>
            <a:spLocks noGrp="1"/>
          </p:cNvSpPr>
          <p:nvPr>
            <p:ph type="body" sz="quarter" idx="11" hasCustomPrompt="1"/>
          </p:nvPr>
        </p:nvSpPr>
        <p:spPr>
          <a:xfrm>
            <a:off x="457199" y="1691640"/>
            <a:ext cx="2651125" cy="4315460"/>
          </a:xfrm>
        </p:spPr>
        <p:txBody>
          <a:bodyPr/>
          <a:lstStyle>
            <a:lvl1pPr marL="0" indent="0">
              <a:lnSpc>
                <a:spcPct val="120000"/>
              </a:lnSpc>
              <a:buNone/>
              <a:defRPr sz="1400">
                <a:latin typeface="+mn-lt"/>
              </a:defRPr>
            </a:lvl1pPr>
          </a:lstStyle>
          <a:p>
            <a:pPr lvl="0"/>
            <a:r>
              <a:rPr lang="en-US" dirty="0"/>
              <a:t>Click to edit master text styles</a:t>
            </a:r>
          </a:p>
        </p:txBody>
      </p:sp>
      <p:sp>
        <p:nvSpPr>
          <p:cNvPr id="15" name="Table Placeholder 14">
            <a:extLst>
              <a:ext uri="{FF2B5EF4-FFF2-40B4-BE49-F238E27FC236}">
                <a16:creationId xmlns:a16="http://schemas.microsoft.com/office/drawing/2014/main" id="{A26E02A6-FCD4-2349-A224-1CAE40B3C672}"/>
              </a:ext>
            </a:extLst>
          </p:cNvPr>
          <p:cNvSpPr>
            <a:spLocks noGrp="1"/>
          </p:cNvSpPr>
          <p:nvPr>
            <p:ph type="tbl" sz="quarter" idx="12"/>
          </p:nvPr>
        </p:nvSpPr>
        <p:spPr>
          <a:xfrm>
            <a:off x="3336925" y="1691641"/>
            <a:ext cx="8397875" cy="4315460"/>
          </a:xfrm>
        </p:spPr>
        <p:txBody>
          <a:bodyPr/>
          <a:lstStyle>
            <a:lvl1pPr marL="0" indent="0">
              <a:buNone/>
              <a:defRPr sz="1400">
                <a:latin typeface="+mn-lt"/>
              </a:defRPr>
            </a:lvl1pPr>
          </a:lstStyle>
          <a:p>
            <a:r>
              <a:rPr lang="en-US"/>
              <a:t>Click icon to add table</a:t>
            </a:r>
            <a:endParaRPr lang="en-US" dirty="0"/>
          </a:p>
        </p:txBody>
      </p:sp>
      <p:sp>
        <p:nvSpPr>
          <p:cNvPr id="3" name="Title 2">
            <a:extLst>
              <a:ext uri="{FF2B5EF4-FFF2-40B4-BE49-F238E27FC236}">
                <a16:creationId xmlns:a16="http://schemas.microsoft.com/office/drawing/2014/main" id="{323086E9-DD46-BF44-9FB9-ECD66EB7820F}"/>
              </a:ext>
            </a:extLst>
          </p:cNvPr>
          <p:cNvSpPr>
            <a:spLocks noGrp="1"/>
          </p:cNvSpPr>
          <p:nvPr>
            <p:ph type="title" hasCustomPrompt="1"/>
          </p:nvPr>
        </p:nvSpPr>
        <p:spPr/>
        <p:txBody>
          <a:bodyPr/>
          <a:lstStyle/>
          <a:p>
            <a:r>
              <a:rPr lang="en-US" dirty="0"/>
              <a:t>Click to edit master title style</a:t>
            </a:r>
          </a:p>
        </p:txBody>
      </p:sp>
      <p:sp>
        <p:nvSpPr>
          <p:cNvPr id="2" name="Text Placeholder 3">
            <a:extLst>
              <a:ext uri="{FF2B5EF4-FFF2-40B4-BE49-F238E27FC236}">
                <a16:creationId xmlns:a16="http://schemas.microsoft.com/office/drawing/2014/main" id="{94A5B7E9-93DD-EBEC-8047-430B925099A9}"/>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48485556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7D5DD003-2D12-2F45-9B83-4D1AB24244E5}"/>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2582352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with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6D864AB1-FA21-E948-BBC5-87E7C74C69C3}"/>
              </a:ext>
            </a:extLst>
          </p:cNvPr>
          <p:cNvSpPr>
            <a:spLocks noGrp="1"/>
          </p:cNvSpPr>
          <p:nvPr>
            <p:ph type="body" sz="quarter" idx="11" hasCustomPrompt="1"/>
          </p:nvPr>
        </p:nvSpPr>
        <p:spPr>
          <a:xfrm>
            <a:off x="457200" y="1691640"/>
            <a:ext cx="2651124" cy="4315460"/>
          </a:xfrm>
        </p:spPr>
        <p:txBody>
          <a:bodyPr/>
          <a:lstStyle>
            <a:lvl1pPr marL="0" indent="0">
              <a:lnSpc>
                <a:spcPct val="120000"/>
              </a:lnSpc>
              <a:buNone/>
              <a:defRPr sz="1400">
                <a:latin typeface="+mn-lt"/>
              </a:defRPr>
            </a:lvl1pPr>
          </a:lstStyle>
          <a:p>
            <a:pPr lvl="0"/>
            <a:r>
              <a:rPr lang="en-US" dirty="0"/>
              <a:t>Click to edit master text styles</a:t>
            </a:r>
          </a:p>
        </p:txBody>
      </p:sp>
      <p:sp>
        <p:nvSpPr>
          <p:cNvPr id="5" name="Picture Placeholder 4">
            <a:extLst>
              <a:ext uri="{FF2B5EF4-FFF2-40B4-BE49-F238E27FC236}">
                <a16:creationId xmlns:a16="http://schemas.microsoft.com/office/drawing/2014/main" id="{2D6B9CC2-0A93-824B-8784-1E187A641DF1}"/>
              </a:ext>
            </a:extLst>
          </p:cNvPr>
          <p:cNvSpPr>
            <a:spLocks noGrp="1"/>
          </p:cNvSpPr>
          <p:nvPr>
            <p:ph type="pic" sz="quarter" idx="13"/>
          </p:nvPr>
        </p:nvSpPr>
        <p:spPr>
          <a:xfrm>
            <a:off x="3336925" y="0"/>
            <a:ext cx="8855075" cy="6858000"/>
          </a:xfrm>
          <a:solidFill>
            <a:schemeClr val="bg1">
              <a:lumMod val="95000"/>
            </a:schemeClr>
          </a:solidFill>
        </p:spPr>
        <p:txBody>
          <a:bodyPr/>
          <a:lstStyle>
            <a:lvl1pPr marL="0" indent="0">
              <a:buNone/>
              <a:defRPr sz="1200"/>
            </a:lvl1pPr>
          </a:lstStyle>
          <a:p>
            <a:r>
              <a:rPr lang="en-US"/>
              <a:t>Click icon to add picture</a:t>
            </a:r>
            <a:endParaRPr lang="en-US" dirty="0"/>
          </a:p>
        </p:txBody>
      </p:sp>
      <p:sp>
        <p:nvSpPr>
          <p:cNvPr id="3" name="Title 2">
            <a:extLst>
              <a:ext uri="{FF2B5EF4-FFF2-40B4-BE49-F238E27FC236}">
                <a16:creationId xmlns:a16="http://schemas.microsoft.com/office/drawing/2014/main" id="{4D84F6E5-E352-B74C-8251-2905A2D26949}"/>
              </a:ext>
            </a:extLst>
          </p:cNvPr>
          <p:cNvSpPr>
            <a:spLocks noGrp="1"/>
          </p:cNvSpPr>
          <p:nvPr>
            <p:ph type="title" hasCustomPrompt="1"/>
          </p:nvPr>
        </p:nvSpPr>
        <p:spPr>
          <a:xfrm>
            <a:off x="457199" y="384048"/>
            <a:ext cx="2651125" cy="822960"/>
          </a:xfrm>
        </p:spPr>
        <p:txBody>
          <a:bodyPr/>
          <a:lstStyle/>
          <a:p>
            <a:r>
              <a:rPr lang="en-US" dirty="0"/>
              <a:t>Click to add title</a:t>
            </a:r>
          </a:p>
        </p:txBody>
      </p:sp>
      <p:sp>
        <p:nvSpPr>
          <p:cNvPr id="7" name="Text Placeholder 3">
            <a:extLst>
              <a:ext uri="{FF2B5EF4-FFF2-40B4-BE49-F238E27FC236}">
                <a16:creationId xmlns:a16="http://schemas.microsoft.com/office/drawing/2014/main" id="{7EAA3626-B192-7954-2795-53FA1BDAEF44}"/>
              </a:ext>
            </a:extLst>
          </p:cNvPr>
          <p:cNvSpPr>
            <a:spLocks noGrp="1"/>
          </p:cNvSpPr>
          <p:nvPr>
            <p:ph type="body" sz="half" idx="12" hasCustomPrompt="1"/>
          </p:nvPr>
        </p:nvSpPr>
        <p:spPr>
          <a:xfrm>
            <a:off x="11355660" y="6426199"/>
            <a:ext cx="379141" cy="146380"/>
          </a:xfrm>
        </p:spPr>
        <p:txBody>
          <a:bodyPr anchor="b" anchorCtr="0"/>
          <a:lstStyle>
            <a:lvl1pPr marL="0" indent="0" algn="r">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fld id="{DB91F917-4553-0B4C-86D1-30F17B222285}" type="slidenum">
              <a:rPr lang="en-US" smtClean="0"/>
              <a:t>‹#›</a:t>
            </a:fld>
            <a:endParaRPr lang="en-US" dirty="0"/>
          </a:p>
        </p:txBody>
      </p:sp>
      <p:sp>
        <p:nvSpPr>
          <p:cNvPr id="2" name="Text Placeholder 3">
            <a:extLst>
              <a:ext uri="{FF2B5EF4-FFF2-40B4-BE49-F238E27FC236}">
                <a16:creationId xmlns:a16="http://schemas.microsoft.com/office/drawing/2014/main" id="{F3E3E8D6-8C19-7B6D-01C9-AF1B7B54E9EB}"/>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1665466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2723071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2D6B9CC2-0A93-824B-8784-1E187A641DF1}"/>
              </a:ext>
            </a:extLst>
          </p:cNvPr>
          <p:cNvSpPr>
            <a:spLocks noGrp="1"/>
          </p:cNvSpPr>
          <p:nvPr>
            <p:ph type="pic" sz="quarter" idx="13"/>
          </p:nvPr>
        </p:nvSpPr>
        <p:spPr>
          <a:xfrm>
            <a:off x="6096000" y="0"/>
            <a:ext cx="6096000" cy="6858000"/>
          </a:xfrm>
          <a:solidFill>
            <a:schemeClr val="bg1">
              <a:lumMod val="95000"/>
            </a:schemeClr>
          </a:solidFill>
        </p:spPr>
        <p:txBody>
          <a:bodyPr/>
          <a:lstStyle>
            <a:lvl1pPr marL="0" indent="0">
              <a:buNone/>
              <a:defRPr sz="1200"/>
            </a:lvl1pPr>
          </a:lstStyle>
          <a:p>
            <a:r>
              <a:rPr lang="en-US"/>
              <a:t>Click icon to add picture</a:t>
            </a:r>
            <a:endParaRPr lang="en-US" dirty="0"/>
          </a:p>
        </p:txBody>
      </p:sp>
      <p:sp>
        <p:nvSpPr>
          <p:cNvPr id="3" name="Title 2">
            <a:extLst>
              <a:ext uri="{FF2B5EF4-FFF2-40B4-BE49-F238E27FC236}">
                <a16:creationId xmlns:a16="http://schemas.microsoft.com/office/drawing/2014/main" id="{F0D6646E-C578-A14A-A853-62114E9D76C2}"/>
              </a:ext>
            </a:extLst>
          </p:cNvPr>
          <p:cNvSpPr>
            <a:spLocks noGrp="1"/>
          </p:cNvSpPr>
          <p:nvPr>
            <p:ph type="title" hasCustomPrompt="1"/>
          </p:nvPr>
        </p:nvSpPr>
        <p:spPr>
          <a:xfrm>
            <a:off x="457200" y="384048"/>
            <a:ext cx="5334000" cy="822960"/>
          </a:xfrm>
        </p:spPr>
        <p:txBody>
          <a:bodyPr/>
          <a:lstStyle/>
          <a:p>
            <a:r>
              <a:rPr lang="en-US" dirty="0"/>
              <a:t>Click to add title</a:t>
            </a:r>
          </a:p>
        </p:txBody>
      </p:sp>
      <p:sp>
        <p:nvSpPr>
          <p:cNvPr id="4" name="Text Placeholder 3">
            <a:extLst>
              <a:ext uri="{FF2B5EF4-FFF2-40B4-BE49-F238E27FC236}">
                <a16:creationId xmlns:a16="http://schemas.microsoft.com/office/drawing/2014/main" id="{39E43737-9BA8-28F9-9B37-28D9385536F1}"/>
              </a:ext>
            </a:extLst>
          </p:cNvPr>
          <p:cNvSpPr>
            <a:spLocks noGrp="1"/>
          </p:cNvSpPr>
          <p:nvPr>
            <p:ph type="body" sz="quarter" idx="15"/>
          </p:nvPr>
        </p:nvSpPr>
        <p:spPr>
          <a:xfrm>
            <a:off x="457200" y="1691640"/>
            <a:ext cx="5334000" cy="4315460"/>
          </a:xfrm>
        </p:spPr>
        <p:txBody>
          <a:bodyPr/>
          <a:lstStyle>
            <a:lvl1pPr>
              <a:lnSpc>
                <a:spcPct val="120000"/>
              </a:lnSpc>
              <a:spcBef>
                <a:spcPts val="1600"/>
              </a:spcBef>
              <a:defRPr sz="1600">
                <a:latin typeface="+mn-lt"/>
              </a:defRPr>
            </a:lvl1pPr>
            <a:lvl2pPr marL="293688" indent="-293688">
              <a:lnSpc>
                <a:spcPct val="120000"/>
              </a:lnSpc>
              <a:spcBef>
                <a:spcPts val="1600"/>
              </a:spcBef>
              <a:buFont typeface="Elevance Sans" pitchFamily="2" charset="0"/>
              <a:buChar char="•"/>
              <a:tabLst/>
              <a:defRPr sz="1600">
                <a:latin typeface="+mn-lt"/>
              </a:defRPr>
            </a:lvl2pPr>
            <a:lvl3pPr marL="9525" indent="0">
              <a:buNone/>
              <a:defRPr/>
            </a:lvl3pPr>
          </a:lstStyle>
          <a:p>
            <a:pPr lvl="0"/>
            <a:r>
              <a:rPr lang="en-US"/>
              <a:t>Click to edit Master text styles</a:t>
            </a:r>
          </a:p>
          <a:p>
            <a:pPr lvl="1"/>
            <a:r>
              <a:rPr lang="en-US"/>
              <a:t>Second level</a:t>
            </a:r>
          </a:p>
        </p:txBody>
      </p:sp>
      <p:sp>
        <p:nvSpPr>
          <p:cNvPr id="10" name="Text Placeholder 3">
            <a:extLst>
              <a:ext uri="{FF2B5EF4-FFF2-40B4-BE49-F238E27FC236}">
                <a16:creationId xmlns:a16="http://schemas.microsoft.com/office/drawing/2014/main" id="{50FE2A77-52B0-0002-3E44-F3A5C0195718}"/>
              </a:ext>
            </a:extLst>
          </p:cNvPr>
          <p:cNvSpPr>
            <a:spLocks noGrp="1"/>
          </p:cNvSpPr>
          <p:nvPr>
            <p:ph type="body" sz="half" idx="12" hasCustomPrompt="1"/>
          </p:nvPr>
        </p:nvSpPr>
        <p:spPr>
          <a:xfrm>
            <a:off x="11355660" y="6426199"/>
            <a:ext cx="379141" cy="146380"/>
          </a:xfrm>
        </p:spPr>
        <p:txBody>
          <a:bodyPr anchor="b" anchorCtr="0"/>
          <a:lstStyle>
            <a:lvl1pPr marL="0" indent="0" algn="r">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fld id="{F3D65CF3-2F65-3542-86CF-6454B72998A1}" type="slidenum">
              <a:rPr lang="en-US" smtClean="0"/>
              <a:t>‹#›</a:t>
            </a:fld>
            <a:endParaRPr lang="en-US" dirty="0"/>
          </a:p>
        </p:txBody>
      </p:sp>
      <p:sp>
        <p:nvSpPr>
          <p:cNvPr id="2" name="Text Placeholder 3">
            <a:extLst>
              <a:ext uri="{FF2B5EF4-FFF2-40B4-BE49-F238E27FC236}">
                <a16:creationId xmlns:a16="http://schemas.microsoft.com/office/drawing/2014/main" id="{213A43A4-8673-66F4-30D4-0C9F16EB6E9D}"/>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7421917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s Three icon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C481F15-58C8-BB47-847B-AFEF12FCE234}"/>
              </a:ext>
            </a:extLst>
          </p:cNvPr>
          <p:cNvSpPr/>
          <p:nvPr userDrawn="1"/>
        </p:nvSpPr>
        <p:spPr>
          <a:xfrm>
            <a:off x="6096000" y="0"/>
            <a:ext cx="6096000" cy="6858000"/>
          </a:xfrm>
          <a:prstGeom prst="rect">
            <a:avLst/>
          </a:prstGeom>
          <a:solidFill>
            <a:srgbClr val="E1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Picture Placeholder 22">
            <a:extLst>
              <a:ext uri="{FF2B5EF4-FFF2-40B4-BE49-F238E27FC236}">
                <a16:creationId xmlns:a16="http://schemas.microsoft.com/office/drawing/2014/main" id="{C7E88C62-B078-D543-A31B-4986E3330988}"/>
              </a:ext>
            </a:extLst>
          </p:cNvPr>
          <p:cNvSpPr>
            <a:spLocks noGrp="1"/>
          </p:cNvSpPr>
          <p:nvPr>
            <p:ph type="pic" sz="quarter" idx="19" hasCustomPrompt="1"/>
          </p:nvPr>
        </p:nvSpPr>
        <p:spPr>
          <a:xfrm>
            <a:off x="6665120" y="2346325"/>
            <a:ext cx="731837" cy="731276"/>
          </a:xfrm>
        </p:spPr>
        <p:txBody>
          <a:bodyPr/>
          <a:lstStyle>
            <a:lvl1pPr algn="ctr">
              <a:defRPr sz="1000">
                <a:solidFill>
                  <a:schemeClr val="tx2"/>
                </a:solidFill>
              </a:defRPr>
            </a:lvl1pPr>
          </a:lstStyle>
          <a:p>
            <a:r>
              <a:rPr lang="en-US" dirty="0"/>
              <a:t>icon</a:t>
            </a: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5107B16-D40D-4D49-AC9F-081161A30D41}"/>
              </a:ext>
            </a:extLst>
          </p:cNvPr>
          <p:cNvSpPr>
            <a:spLocks noGrp="1"/>
          </p:cNvSpPr>
          <p:nvPr>
            <p:ph type="title" hasCustomPrompt="1"/>
          </p:nvPr>
        </p:nvSpPr>
        <p:spPr>
          <a:xfrm>
            <a:off x="457200" y="384048"/>
            <a:ext cx="5334000" cy="822960"/>
          </a:xfrm>
        </p:spPr>
        <p:txBody>
          <a:bodyPr/>
          <a:lstStyle/>
          <a:p>
            <a:r>
              <a:rPr lang="en-US" dirty="0"/>
              <a:t>Click to add title</a:t>
            </a:r>
          </a:p>
        </p:txBody>
      </p:sp>
      <p:sp>
        <p:nvSpPr>
          <p:cNvPr id="16" name="TextBox 15">
            <a:extLst>
              <a:ext uri="{FF2B5EF4-FFF2-40B4-BE49-F238E27FC236}">
                <a16:creationId xmlns:a16="http://schemas.microsoft.com/office/drawing/2014/main" id="{AD9F5B07-CC0C-8242-81AD-1C0EB2CDA362}"/>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sp>
        <p:nvSpPr>
          <p:cNvPr id="6" name="Text Placeholder 5">
            <a:extLst>
              <a:ext uri="{FF2B5EF4-FFF2-40B4-BE49-F238E27FC236}">
                <a16:creationId xmlns:a16="http://schemas.microsoft.com/office/drawing/2014/main" id="{408DCCDA-24C3-CC42-9EEC-7C84C2FB8571}"/>
              </a:ext>
            </a:extLst>
          </p:cNvPr>
          <p:cNvSpPr>
            <a:spLocks noGrp="1"/>
          </p:cNvSpPr>
          <p:nvPr>
            <p:ph type="body" sz="quarter" idx="15"/>
          </p:nvPr>
        </p:nvSpPr>
        <p:spPr>
          <a:xfrm>
            <a:off x="6773863" y="1691640"/>
            <a:ext cx="4249737" cy="316103"/>
          </a:xfrm>
        </p:spPr>
        <p:txBody>
          <a:bodyPr/>
          <a:lstStyle>
            <a:lvl1pPr>
              <a:lnSpc>
                <a:spcPct val="120000"/>
              </a:lnSpc>
              <a:defRPr sz="1600"/>
            </a:lvl1pPr>
          </a:lstStyle>
          <a:p>
            <a:pPr lvl="0"/>
            <a:r>
              <a:rPr lang="en-US"/>
              <a:t>Click to edit Master text styles</a:t>
            </a:r>
          </a:p>
        </p:txBody>
      </p:sp>
      <p:sp>
        <p:nvSpPr>
          <p:cNvPr id="19" name="Text Placeholder 18">
            <a:extLst>
              <a:ext uri="{FF2B5EF4-FFF2-40B4-BE49-F238E27FC236}">
                <a16:creationId xmlns:a16="http://schemas.microsoft.com/office/drawing/2014/main" id="{2628AA8C-3AA3-804C-BAC2-938EE013A99D}"/>
              </a:ext>
            </a:extLst>
          </p:cNvPr>
          <p:cNvSpPr>
            <a:spLocks noGrp="1"/>
          </p:cNvSpPr>
          <p:nvPr>
            <p:ph type="body" sz="quarter" idx="16"/>
          </p:nvPr>
        </p:nvSpPr>
        <p:spPr>
          <a:xfrm>
            <a:off x="7915275" y="2354336"/>
            <a:ext cx="3818526" cy="723265"/>
          </a:xfrm>
        </p:spPr>
        <p:txBody>
          <a:bodyPr/>
          <a:lstStyle>
            <a:lvl1pPr>
              <a:lnSpc>
                <a:spcPct val="120000"/>
              </a:lnSpc>
              <a:defRPr sz="1200" b="0" i="0">
                <a:latin typeface="Elevance Sans" pitchFamily="2" charset="0"/>
              </a:defRPr>
            </a:lvl1pPr>
          </a:lstStyle>
          <a:p>
            <a:pPr lvl="0"/>
            <a:r>
              <a:rPr lang="en-US"/>
              <a:t>Click to edit Master text styles</a:t>
            </a:r>
          </a:p>
        </p:txBody>
      </p:sp>
      <p:sp>
        <p:nvSpPr>
          <p:cNvPr id="20" name="Text Placeholder 18">
            <a:extLst>
              <a:ext uri="{FF2B5EF4-FFF2-40B4-BE49-F238E27FC236}">
                <a16:creationId xmlns:a16="http://schemas.microsoft.com/office/drawing/2014/main" id="{60BE6EBB-EB34-2242-AEBC-48C5BF2653DE}"/>
              </a:ext>
            </a:extLst>
          </p:cNvPr>
          <p:cNvSpPr>
            <a:spLocks noGrp="1"/>
          </p:cNvSpPr>
          <p:nvPr>
            <p:ph type="body" sz="quarter" idx="17"/>
          </p:nvPr>
        </p:nvSpPr>
        <p:spPr>
          <a:xfrm>
            <a:off x="7915275" y="3736210"/>
            <a:ext cx="3818526" cy="723265"/>
          </a:xfrm>
        </p:spPr>
        <p:txBody>
          <a:bodyPr/>
          <a:lstStyle>
            <a:lvl1pPr>
              <a:lnSpc>
                <a:spcPct val="120000"/>
              </a:lnSpc>
              <a:defRPr sz="1200" b="0" i="0">
                <a:latin typeface="Elevance Sans" pitchFamily="2" charset="0"/>
              </a:defRPr>
            </a:lvl1pPr>
          </a:lstStyle>
          <a:p>
            <a:pPr lvl="0"/>
            <a:r>
              <a:rPr lang="en-US"/>
              <a:t>Click to edit Master text styles</a:t>
            </a:r>
          </a:p>
        </p:txBody>
      </p:sp>
      <p:sp>
        <p:nvSpPr>
          <p:cNvPr id="21" name="Text Placeholder 18">
            <a:extLst>
              <a:ext uri="{FF2B5EF4-FFF2-40B4-BE49-F238E27FC236}">
                <a16:creationId xmlns:a16="http://schemas.microsoft.com/office/drawing/2014/main" id="{62787009-1D09-0143-B730-093388290FEE}"/>
              </a:ext>
            </a:extLst>
          </p:cNvPr>
          <p:cNvSpPr>
            <a:spLocks noGrp="1"/>
          </p:cNvSpPr>
          <p:nvPr>
            <p:ph type="body" sz="quarter" idx="18"/>
          </p:nvPr>
        </p:nvSpPr>
        <p:spPr>
          <a:xfrm>
            <a:off x="7915275" y="5118084"/>
            <a:ext cx="3818526" cy="723265"/>
          </a:xfrm>
        </p:spPr>
        <p:txBody>
          <a:bodyPr/>
          <a:lstStyle>
            <a:lvl1pPr>
              <a:lnSpc>
                <a:spcPct val="120000"/>
              </a:lnSpc>
              <a:defRPr sz="1200" b="0" i="0">
                <a:latin typeface="Elevance Sans" pitchFamily="2" charset="0"/>
              </a:defRPr>
            </a:lvl1pPr>
          </a:lstStyle>
          <a:p>
            <a:pPr lvl="0"/>
            <a:r>
              <a:rPr lang="en-US"/>
              <a:t>Click to edit Master text styles</a:t>
            </a:r>
          </a:p>
        </p:txBody>
      </p:sp>
      <p:sp>
        <p:nvSpPr>
          <p:cNvPr id="24" name="Picture Placeholder 22">
            <a:extLst>
              <a:ext uri="{FF2B5EF4-FFF2-40B4-BE49-F238E27FC236}">
                <a16:creationId xmlns:a16="http://schemas.microsoft.com/office/drawing/2014/main" id="{926707BB-0CF8-D742-A1DA-677AC916C15E}"/>
              </a:ext>
            </a:extLst>
          </p:cNvPr>
          <p:cNvSpPr>
            <a:spLocks noGrp="1"/>
          </p:cNvSpPr>
          <p:nvPr>
            <p:ph type="pic" sz="quarter" idx="20" hasCustomPrompt="1"/>
          </p:nvPr>
        </p:nvSpPr>
        <p:spPr>
          <a:xfrm>
            <a:off x="6665120" y="3736210"/>
            <a:ext cx="731837" cy="731276"/>
          </a:xfrm>
        </p:spPr>
        <p:txBody>
          <a:bodyPr/>
          <a:lstStyle>
            <a:lvl1pPr algn="ctr">
              <a:defRPr sz="1000">
                <a:solidFill>
                  <a:schemeClr val="tx2"/>
                </a:solidFill>
              </a:defRPr>
            </a:lvl1pPr>
          </a:lstStyle>
          <a:p>
            <a:r>
              <a:rPr lang="en-US" dirty="0"/>
              <a:t>icon</a:t>
            </a:r>
          </a:p>
        </p:txBody>
      </p:sp>
      <p:sp>
        <p:nvSpPr>
          <p:cNvPr id="25" name="Picture Placeholder 22">
            <a:extLst>
              <a:ext uri="{FF2B5EF4-FFF2-40B4-BE49-F238E27FC236}">
                <a16:creationId xmlns:a16="http://schemas.microsoft.com/office/drawing/2014/main" id="{F2140207-71CD-1744-B834-6438BAD46B26}"/>
              </a:ext>
            </a:extLst>
          </p:cNvPr>
          <p:cNvSpPr>
            <a:spLocks noGrp="1"/>
          </p:cNvSpPr>
          <p:nvPr>
            <p:ph type="pic" sz="quarter" idx="21" hasCustomPrompt="1"/>
          </p:nvPr>
        </p:nvSpPr>
        <p:spPr>
          <a:xfrm>
            <a:off x="6665120" y="5118084"/>
            <a:ext cx="731837" cy="731276"/>
          </a:xfrm>
        </p:spPr>
        <p:txBody>
          <a:bodyPr/>
          <a:lstStyle>
            <a:lvl1pPr algn="ctr">
              <a:defRPr sz="1000">
                <a:solidFill>
                  <a:schemeClr val="tx2"/>
                </a:solidFill>
              </a:defRPr>
            </a:lvl1pPr>
          </a:lstStyle>
          <a:p>
            <a:r>
              <a:rPr lang="en-US" dirty="0"/>
              <a:t>icon</a:t>
            </a:r>
          </a:p>
        </p:txBody>
      </p:sp>
      <p:sp>
        <p:nvSpPr>
          <p:cNvPr id="5" name="Text Placeholder 4">
            <a:extLst>
              <a:ext uri="{FF2B5EF4-FFF2-40B4-BE49-F238E27FC236}">
                <a16:creationId xmlns:a16="http://schemas.microsoft.com/office/drawing/2014/main" id="{0E2F481A-950D-FAC1-C471-F344B373ED4C}"/>
              </a:ext>
            </a:extLst>
          </p:cNvPr>
          <p:cNvSpPr>
            <a:spLocks noGrp="1"/>
          </p:cNvSpPr>
          <p:nvPr>
            <p:ph type="body" sz="quarter" idx="23"/>
          </p:nvPr>
        </p:nvSpPr>
        <p:spPr>
          <a:xfrm>
            <a:off x="457200" y="1691640"/>
            <a:ext cx="5435600" cy="4315460"/>
          </a:xfrm>
        </p:spPr>
        <p:txBody>
          <a:bodyPr/>
          <a:lstStyle>
            <a:lvl1pPr>
              <a:lnSpc>
                <a:spcPct val="120000"/>
              </a:lnSpc>
              <a:spcBef>
                <a:spcPts val="1600"/>
              </a:spcBef>
              <a:defRPr sz="1600"/>
            </a:lvl1pPr>
            <a:lvl2pPr>
              <a:lnSpc>
                <a:spcPct val="120000"/>
              </a:lnSpc>
              <a:spcBef>
                <a:spcPts val="1600"/>
              </a:spcBef>
              <a:defRPr sz="1600"/>
            </a:lvl2pPr>
            <a:lvl3pPr>
              <a:lnSpc>
                <a:spcPct val="120000"/>
              </a:lnSpc>
              <a:spcBef>
                <a:spcPts val="1600"/>
              </a:spcBef>
              <a:defRPr sz="1600"/>
            </a:lvl3pPr>
            <a:lvl4pPr>
              <a:lnSpc>
                <a:spcPct val="120000"/>
              </a:lnSpc>
              <a:spcBef>
                <a:spcPts val="1600"/>
              </a:spcBef>
              <a:defRPr sz="1600"/>
            </a:lvl4pPr>
            <a:lvl5pPr>
              <a:lnSpc>
                <a:spcPct val="120000"/>
              </a:lnSpc>
              <a:spcBef>
                <a:spcPts val="1600"/>
              </a:spcBef>
              <a:defRPr sz="1600"/>
            </a:lvl5pPr>
            <a:lvl6pPr>
              <a:lnSpc>
                <a:spcPct val="120000"/>
              </a:lnSpc>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ext Placeholder 3">
            <a:extLst>
              <a:ext uri="{FF2B5EF4-FFF2-40B4-BE49-F238E27FC236}">
                <a16:creationId xmlns:a16="http://schemas.microsoft.com/office/drawing/2014/main" id="{9B93E84A-0E0A-3D5F-F857-E1E2A1E3BC53}"/>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9934940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wo Column Spli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C481F15-58C8-BB47-847B-AFEF12FCE234}"/>
              </a:ext>
            </a:extLst>
          </p:cNvPr>
          <p:cNvSpPr/>
          <p:nvPr userDrawn="1"/>
        </p:nvSpPr>
        <p:spPr>
          <a:xfrm>
            <a:off x="6096000" y="0"/>
            <a:ext cx="6096000" cy="6858000"/>
          </a:xfrm>
          <a:prstGeom prst="rect">
            <a:avLst/>
          </a:prstGeom>
          <a:solidFill>
            <a:srgbClr val="E1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5107B16-D40D-4D49-AC9F-081161A30D41}"/>
              </a:ext>
            </a:extLst>
          </p:cNvPr>
          <p:cNvSpPr>
            <a:spLocks noGrp="1"/>
          </p:cNvSpPr>
          <p:nvPr>
            <p:ph type="title" hasCustomPrompt="1"/>
          </p:nvPr>
        </p:nvSpPr>
        <p:spPr>
          <a:xfrm>
            <a:off x="457200" y="384048"/>
            <a:ext cx="5334000" cy="822960"/>
          </a:xfrm>
        </p:spPr>
        <p:txBody>
          <a:bodyPr/>
          <a:lstStyle/>
          <a:p>
            <a:r>
              <a:rPr lang="en-US" dirty="0"/>
              <a:t>Click to add title</a:t>
            </a:r>
          </a:p>
        </p:txBody>
      </p:sp>
      <p:sp>
        <p:nvSpPr>
          <p:cNvPr id="16" name="TextBox 15">
            <a:extLst>
              <a:ext uri="{FF2B5EF4-FFF2-40B4-BE49-F238E27FC236}">
                <a16:creationId xmlns:a16="http://schemas.microsoft.com/office/drawing/2014/main" id="{AD9F5B07-CC0C-8242-81AD-1C0EB2CDA362}"/>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sp>
        <p:nvSpPr>
          <p:cNvPr id="5" name="Text Placeholder 4">
            <a:extLst>
              <a:ext uri="{FF2B5EF4-FFF2-40B4-BE49-F238E27FC236}">
                <a16:creationId xmlns:a16="http://schemas.microsoft.com/office/drawing/2014/main" id="{0E2F481A-950D-FAC1-C471-F344B373ED4C}"/>
              </a:ext>
            </a:extLst>
          </p:cNvPr>
          <p:cNvSpPr>
            <a:spLocks noGrp="1"/>
          </p:cNvSpPr>
          <p:nvPr>
            <p:ph type="body" sz="quarter" idx="23"/>
          </p:nvPr>
        </p:nvSpPr>
        <p:spPr>
          <a:xfrm>
            <a:off x="457200" y="1691640"/>
            <a:ext cx="5435600" cy="4315460"/>
          </a:xfrm>
        </p:spPr>
        <p:txBody>
          <a:bodyPr/>
          <a:lstStyle>
            <a:lvl1pPr>
              <a:lnSpc>
                <a:spcPct val="120000"/>
              </a:lnSpc>
              <a:spcBef>
                <a:spcPts val="1600"/>
              </a:spcBef>
              <a:defRPr sz="1600"/>
            </a:lvl1pPr>
            <a:lvl2pPr>
              <a:lnSpc>
                <a:spcPct val="120000"/>
              </a:lnSpc>
              <a:spcBef>
                <a:spcPts val="1600"/>
              </a:spcBef>
              <a:defRPr sz="1600"/>
            </a:lvl2pPr>
            <a:lvl3pPr>
              <a:lnSpc>
                <a:spcPct val="120000"/>
              </a:lnSpc>
              <a:spcBef>
                <a:spcPts val="1600"/>
              </a:spcBef>
              <a:defRPr sz="1600"/>
            </a:lvl3pPr>
            <a:lvl4pPr>
              <a:lnSpc>
                <a:spcPct val="120000"/>
              </a:lnSpc>
              <a:spcBef>
                <a:spcPts val="1600"/>
              </a:spcBef>
              <a:defRPr sz="1600"/>
            </a:lvl4pPr>
            <a:lvl5pPr>
              <a:lnSpc>
                <a:spcPct val="120000"/>
              </a:lnSpc>
              <a:spcBef>
                <a:spcPts val="1600"/>
              </a:spcBef>
              <a:defRPr sz="1600"/>
            </a:lvl5pPr>
            <a:lvl6pPr>
              <a:lnSpc>
                <a:spcPct val="120000"/>
              </a:lnSpc>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ext Placeholder 3">
            <a:extLst>
              <a:ext uri="{FF2B5EF4-FFF2-40B4-BE49-F238E27FC236}">
                <a16:creationId xmlns:a16="http://schemas.microsoft.com/office/drawing/2014/main" id="{7A31417D-2358-F67F-3897-9A48812A6321}"/>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9744498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or Statement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11418EC-3C88-4D46-862D-8E997A834E37}"/>
              </a:ext>
            </a:extLst>
          </p:cNvPr>
          <p:cNvSpPr>
            <a:spLocks noGrp="1"/>
          </p:cNvSpPr>
          <p:nvPr>
            <p:ph type="pic" sz="quarter" idx="10"/>
          </p:nvPr>
        </p:nvSpPr>
        <p:spPr>
          <a:xfrm>
            <a:off x="0" y="0"/>
            <a:ext cx="12192000" cy="6858000"/>
          </a:xfrm>
          <a:solidFill>
            <a:schemeClr val="bg1">
              <a:lumMod val="95000"/>
            </a:schemeClr>
          </a:solidFill>
        </p:spPr>
        <p:txBody>
          <a:bodyPr vert="horz" lIns="0" tIns="0" rIns="0" bIns="0" rtlCol="0">
            <a:noAutofit/>
          </a:bodyPr>
          <a:lstStyle>
            <a:lvl1pPr>
              <a:defRPr lang="en-US" sz="1200"/>
            </a:lvl1pPr>
          </a:lstStyle>
          <a:p>
            <a:pPr lvl="0"/>
            <a:r>
              <a:rPr lang="en-US"/>
              <a:t>Click icon to add picture</a:t>
            </a:r>
            <a:endParaRPr lang="en-US" dirty="0"/>
          </a:p>
        </p:txBody>
      </p:sp>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28331576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997200"/>
          </a:xfrm>
        </p:spPr>
        <p:txBody>
          <a:bodyPr vert="horz"/>
          <a:lstStyle>
            <a:lvl1pPr>
              <a:defRPr sz="6600">
                <a:solidFill>
                  <a:schemeClr val="bg1"/>
                </a:solidFill>
              </a:defRPr>
            </a:lvl1pPr>
          </a:lstStyle>
          <a:p>
            <a:r>
              <a:rPr lang="en-US" dirty="0"/>
              <a:t>Hero statement </a:t>
            </a:r>
            <a:br>
              <a:rPr lang="en-US" dirty="0"/>
            </a:br>
            <a:r>
              <a:rPr lang="en-US" dirty="0"/>
              <a:t>or divider title here</a:t>
            </a:r>
          </a:p>
        </p:txBody>
      </p:sp>
      <p:sp>
        <p:nvSpPr>
          <p:cNvPr id="16" name="Text Placeholder 15">
            <a:extLst>
              <a:ext uri="{FF2B5EF4-FFF2-40B4-BE49-F238E27FC236}">
                <a16:creationId xmlns:a16="http://schemas.microsoft.com/office/drawing/2014/main" id="{37CEF25A-BB49-7744-A3F7-57849C61D7A6}"/>
              </a:ext>
            </a:extLst>
          </p:cNvPr>
          <p:cNvSpPr>
            <a:spLocks noGrp="1"/>
          </p:cNvSpPr>
          <p:nvPr>
            <p:ph type="body" sz="quarter" idx="11"/>
          </p:nvPr>
        </p:nvSpPr>
        <p:spPr>
          <a:xfrm>
            <a:off x="457198" y="6181343"/>
            <a:ext cx="365345" cy="365371"/>
          </a:xfrm>
          <a:custGeom>
            <a:avLst/>
            <a:gdLst>
              <a:gd name="connsiteX0" fmla="*/ 248180 w 365345"/>
              <a:gd name="connsiteY0" fmla="*/ 130851 h 365371"/>
              <a:gd name="connsiteX1" fmla="*/ 259521 w 365345"/>
              <a:gd name="connsiteY1" fmla="*/ 136692 h 365371"/>
              <a:gd name="connsiteX2" fmla="*/ 277100 w 365345"/>
              <a:gd name="connsiteY2" fmla="*/ 139811 h 365371"/>
              <a:gd name="connsiteX3" fmla="*/ 259436 w 365345"/>
              <a:gd name="connsiteY3" fmla="*/ 182681 h 365371"/>
              <a:gd name="connsiteX4" fmla="*/ 263576 w 365345"/>
              <a:gd name="connsiteY4" fmla="*/ 190110 h 365371"/>
              <a:gd name="connsiteX5" fmla="*/ 277185 w 365345"/>
              <a:gd name="connsiteY5" fmla="*/ 189061 h 365371"/>
              <a:gd name="connsiteX6" fmla="*/ 291787 w 365345"/>
              <a:gd name="connsiteY6" fmla="*/ 190280 h 365371"/>
              <a:gd name="connsiteX7" fmla="*/ 364117 w 365345"/>
              <a:gd name="connsiteY7" fmla="*/ 291814 h 365371"/>
              <a:gd name="connsiteX8" fmla="*/ 262583 w 365345"/>
              <a:gd name="connsiteY8" fmla="*/ 364143 h 365371"/>
              <a:gd name="connsiteX9" fmla="*/ 190253 w 365345"/>
              <a:gd name="connsiteY9" fmla="*/ 262610 h 365371"/>
              <a:gd name="connsiteX10" fmla="*/ 225525 w 365345"/>
              <a:gd name="connsiteY10" fmla="*/ 277127 h 365371"/>
              <a:gd name="connsiteX11" fmla="*/ 234542 w 365345"/>
              <a:gd name="connsiteY11" fmla="*/ 306359 h 365371"/>
              <a:gd name="connsiteX12" fmla="*/ 306304 w 365345"/>
              <a:gd name="connsiteY12" fmla="*/ 319827 h 365371"/>
              <a:gd name="connsiteX13" fmla="*/ 319772 w 365345"/>
              <a:gd name="connsiteY13" fmla="*/ 248064 h 365371"/>
              <a:gd name="connsiteX14" fmla="*/ 248010 w 365345"/>
              <a:gd name="connsiteY14" fmla="*/ 234596 h 365371"/>
              <a:gd name="connsiteX15" fmla="*/ 226773 w 365345"/>
              <a:gd name="connsiteY15" fmla="*/ 182681 h 365371"/>
              <a:gd name="connsiteX16" fmla="*/ 277156 w 365345"/>
              <a:gd name="connsiteY16" fmla="*/ 0 h 365371"/>
              <a:gd name="connsiteX17" fmla="*/ 277185 w 365345"/>
              <a:gd name="connsiteY17" fmla="*/ 0 h 365371"/>
              <a:gd name="connsiteX18" fmla="*/ 277156 w 365345"/>
              <a:gd name="connsiteY18" fmla="*/ 6 h 365371"/>
              <a:gd name="connsiteX19" fmla="*/ 88095 w 365345"/>
              <a:gd name="connsiteY19" fmla="*/ 0 h 365371"/>
              <a:gd name="connsiteX20" fmla="*/ 103264 w 365345"/>
              <a:gd name="connsiteY20" fmla="*/ 1304 h 365371"/>
              <a:gd name="connsiteX21" fmla="*/ 173997 w 365345"/>
              <a:gd name="connsiteY21" fmla="*/ 67899 h 365371"/>
              <a:gd name="connsiteX22" fmla="*/ 175026 w 365345"/>
              <a:gd name="connsiteY22" fmla="*/ 102757 h 365371"/>
              <a:gd name="connsiteX23" fmla="*/ 182654 w 365345"/>
              <a:gd name="connsiteY23" fmla="*/ 105900 h 365371"/>
              <a:gd name="connsiteX24" fmla="*/ 190083 w 365345"/>
              <a:gd name="connsiteY24" fmla="*/ 101761 h 365371"/>
              <a:gd name="connsiteX25" fmla="*/ 189034 w 365345"/>
              <a:gd name="connsiteY25" fmla="*/ 88151 h 365371"/>
              <a:gd name="connsiteX26" fmla="*/ 242873 w 365345"/>
              <a:gd name="connsiteY26" fmla="*/ 6928 h 365371"/>
              <a:gd name="connsiteX27" fmla="*/ 277156 w 365345"/>
              <a:gd name="connsiteY27" fmla="*/ 6 h 365371"/>
              <a:gd name="connsiteX28" fmla="*/ 277156 w 365345"/>
              <a:gd name="connsiteY28" fmla="*/ 142 h 365371"/>
              <a:gd name="connsiteX29" fmla="*/ 291758 w 365345"/>
              <a:gd name="connsiteY29" fmla="*/ 1361 h 365371"/>
              <a:gd name="connsiteX30" fmla="*/ 364088 w 365345"/>
              <a:gd name="connsiteY30" fmla="*/ 102895 h 365371"/>
              <a:gd name="connsiteX31" fmla="*/ 262554 w 365345"/>
              <a:gd name="connsiteY31" fmla="*/ 175225 h 365371"/>
              <a:gd name="connsiteX32" fmla="*/ 277100 w 365345"/>
              <a:gd name="connsiteY32" fmla="*/ 139953 h 365371"/>
              <a:gd name="connsiteX33" fmla="*/ 306332 w 365345"/>
              <a:gd name="connsiteY33" fmla="*/ 130936 h 365371"/>
              <a:gd name="connsiteX34" fmla="*/ 319800 w 365345"/>
              <a:gd name="connsiteY34" fmla="*/ 59174 h 365371"/>
              <a:gd name="connsiteX35" fmla="*/ 248037 w 365345"/>
              <a:gd name="connsiteY35" fmla="*/ 45706 h 365371"/>
              <a:gd name="connsiteX36" fmla="*/ 234569 w 365345"/>
              <a:gd name="connsiteY36" fmla="*/ 117469 h 365371"/>
              <a:gd name="connsiteX37" fmla="*/ 182654 w 365345"/>
              <a:gd name="connsiteY37" fmla="*/ 138564 h 365371"/>
              <a:gd name="connsiteX38" fmla="*/ 130824 w 365345"/>
              <a:gd name="connsiteY38" fmla="*/ 117213 h 365371"/>
              <a:gd name="connsiteX39" fmla="*/ 139780 w 365345"/>
              <a:gd name="connsiteY39" fmla="*/ 88250 h 365371"/>
              <a:gd name="connsiteX40" fmla="*/ 130767 w 365345"/>
              <a:gd name="connsiteY40" fmla="*/ 59032 h 365371"/>
              <a:gd name="connsiteX41" fmla="*/ 59005 w 365345"/>
              <a:gd name="connsiteY41" fmla="*/ 45564 h 365371"/>
              <a:gd name="connsiteX42" fmla="*/ 45537 w 365345"/>
              <a:gd name="connsiteY42" fmla="*/ 117327 h 365371"/>
              <a:gd name="connsiteX43" fmla="*/ 117299 w 365345"/>
              <a:gd name="connsiteY43" fmla="*/ 130795 h 365371"/>
              <a:gd name="connsiteX44" fmla="*/ 138508 w 365345"/>
              <a:gd name="connsiteY44" fmla="*/ 182682 h 365371"/>
              <a:gd name="connsiteX45" fmla="*/ 117101 w 365345"/>
              <a:gd name="connsiteY45" fmla="*/ 234512 h 365371"/>
              <a:gd name="connsiteX46" fmla="*/ 105760 w 365345"/>
              <a:gd name="connsiteY46" fmla="*/ 228671 h 365371"/>
              <a:gd name="connsiteX47" fmla="*/ 88180 w 365345"/>
              <a:gd name="connsiteY47" fmla="*/ 225552 h 365371"/>
              <a:gd name="connsiteX48" fmla="*/ 88180 w 365345"/>
              <a:gd name="connsiteY48" fmla="*/ 225551 h 365371"/>
              <a:gd name="connsiteX49" fmla="*/ 58948 w 365345"/>
              <a:gd name="connsiteY49" fmla="*/ 234568 h 365371"/>
              <a:gd name="connsiteX50" fmla="*/ 45480 w 365345"/>
              <a:gd name="connsiteY50" fmla="*/ 306330 h 365371"/>
              <a:gd name="connsiteX51" fmla="*/ 117243 w 365345"/>
              <a:gd name="connsiteY51" fmla="*/ 319798 h 365371"/>
              <a:gd name="connsiteX52" fmla="*/ 130711 w 365345"/>
              <a:gd name="connsiteY52" fmla="*/ 248036 h 365371"/>
              <a:gd name="connsiteX53" fmla="*/ 182655 w 365345"/>
              <a:gd name="connsiteY53" fmla="*/ 226799 h 365371"/>
              <a:gd name="connsiteX54" fmla="*/ 234456 w 365345"/>
              <a:gd name="connsiteY54" fmla="*/ 248149 h 365371"/>
              <a:gd name="connsiteX55" fmla="*/ 225525 w 365345"/>
              <a:gd name="connsiteY55" fmla="*/ 277126 h 365371"/>
              <a:gd name="connsiteX56" fmla="*/ 182655 w 365345"/>
              <a:gd name="connsiteY56" fmla="*/ 259462 h 365371"/>
              <a:gd name="connsiteX57" fmla="*/ 175226 w 365345"/>
              <a:gd name="connsiteY57" fmla="*/ 263602 h 365371"/>
              <a:gd name="connsiteX58" fmla="*/ 175056 w 365345"/>
              <a:gd name="connsiteY58" fmla="*/ 291700 h 365371"/>
              <a:gd name="connsiteX59" fmla="*/ 73635 w 365345"/>
              <a:gd name="connsiteY59" fmla="*/ 364030 h 365371"/>
              <a:gd name="connsiteX60" fmla="*/ 1306 w 365345"/>
              <a:gd name="connsiteY60" fmla="*/ 262609 h 365371"/>
              <a:gd name="connsiteX61" fmla="*/ 67768 w 365345"/>
              <a:gd name="connsiteY61" fmla="*/ 191450 h 365371"/>
              <a:gd name="connsiteX62" fmla="*/ 102704 w 365345"/>
              <a:gd name="connsiteY62" fmla="*/ 190281 h 365371"/>
              <a:gd name="connsiteX63" fmla="*/ 105845 w 365345"/>
              <a:gd name="connsiteY63" fmla="*/ 182653 h 365371"/>
              <a:gd name="connsiteX64" fmla="*/ 101705 w 365345"/>
              <a:gd name="connsiteY64" fmla="*/ 175253 h 365371"/>
              <a:gd name="connsiteX65" fmla="*/ 88095 w 365345"/>
              <a:gd name="connsiteY65" fmla="*/ 176302 h 365371"/>
              <a:gd name="connsiteX66" fmla="*/ 1 w 365345"/>
              <a:gd name="connsiteY66" fmla="*/ 88208 h 365371"/>
              <a:gd name="connsiteX67" fmla="*/ 88095 w 365345"/>
              <a:gd name="connsiteY67" fmla="*/ 0 h 36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65345" h="365371">
                <a:moveTo>
                  <a:pt x="248180" y="130851"/>
                </a:moveTo>
                <a:cubicBezTo>
                  <a:pt x="251695" y="133261"/>
                  <a:pt x="255523" y="135217"/>
                  <a:pt x="259521" y="136692"/>
                </a:cubicBezTo>
                <a:cubicBezTo>
                  <a:pt x="265163" y="138733"/>
                  <a:pt x="271118" y="139811"/>
                  <a:pt x="277100" y="139811"/>
                </a:cubicBezTo>
                <a:lnTo>
                  <a:pt x="259436" y="182681"/>
                </a:lnTo>
                <a:lnTo>
                  <a:pt x="263576" y="190110"/>
                </a:lnTo>
                <a:cubicBezTo>
                  <a:pt x="268084" y="189401"/>
                  <a:pt x="272620" y="189061"/>
                  <a:pt x="277185" y="189061"/>
                </a:cubicBezTo>
                <a:cubicBezTo>
                  <a:pt x="282090" y="189061"/>
                  <a:pt x="286967" y="189458"/>
                  <a:pt x="291787" y="190280"/>
                </a:cubicBezTo>
                <a:cubicBezTo>
                  <a:pt x="339790" y="198332"/>
                  <a:pt x="372169" y="243811"/>
                  <a:pt x="364117" y="291814"/>
                </a:cubicBezTo>
                <a:cubicBezTo>
                  <a:pt x="356065" y="339816"/>
                  <a:pt x="310586" y="372196"/>
                  <a:pt x="262583" y="364143"/>
                </a:cubicBezTo>
                <a:cubicBezTo>
                  <a:pt x="214581" y="356091"/>
                  <a:pt x="182201" y="310612"/>
                  <a:pt x="190253" y="262610"/>
                </a:cubicBezTo>
                <a:lnTo>
                  <a:pt x="225525" y="277127"/>
                </a:lnTo>
                <a:cubicBezTo>
                  <a:pt x="225497" y="287561"/>
                  <a:pt x="228644" y="297740"/>
                  <a:pt x="234542" y="306359"/>
                </a:cubicBezTo>
                <a:cubicBezTo>
                  <a:pt x="250646" y="329892"/>
                  <a:pt x="282771" y="335932"/>
                  <a:pt x="306304" y="319827"/>
                </a:cubicBezTo>
                <a:cubicBezTo>
                  <a:pt x="329838" y="303722"/>
                  <a:pt x="335877" y="271598"/>
                  <a:pt x="319772" y="248064"/>
                </a:cubicBezTo>
                <a:cubicBezTo>
                  <a:pt x="303667" y="224531"/>
                  <a:pt x="271543" y="218492"/>
                  <a:pt x="248010" y="234596"/>
                </a:cubicBezTo>
                <a:lnTo>
                  <a:pt x="226773" y="182681"/>
                </a:lnTo>
                <a:close/>
                <a:moveTo>
                  <a:pt x="277156" y="0"/>
                </a:moveTo>
                <a:lnTo>
                  <a:pt x="277185" y="0"/>
                </a:lnTo>
                <a:lnTo>
                  <a:pt x="277156" y="6"/>
                </a:lnTo>
                <a:close/>
                <a:moveTo>
                  <a:pt x="88095" y="0"/>
                </a:moveTo>
                <a:cubicBezTo>
                  <a:pt x="93199" y="0"/>
                  <a:pt x="98246" y="425"/>
                  <a:pt x="103264" y="1304"/>
                </a:cubicBezTo>
                <a:cubicBezTo>
                  <a:pt x="139139" y="7450"/>
                  <a:pt x="166177" y="34552"/>
                  <a:pt x="173997" y="67899"/>
                </a:cubicBezTo>
                <a:lnTo>
                  <a:pt x="175026" y="102757"/>
                </a:lnTo>
                <a:lnTo>
                  <a:pt x="182654" y="105900"/>
                </a:lnTo>
                <a:lnTo>
                  <a:pt x="190083" y="101761"/>
                </a:lnTo>
                <a:cubicBezTo>
                  <a:pt x="189374" y="97252"/>
                  <a:pt x="189034" y="92716"/>
                  <a:pt x="189034" y="88151"/>
                </a:cubicBezTo>
                <a:cubicBezTo>
                  <a:pt x="189034" y="51639"/>
                  <a:pt x="211235" y="20310"/>
                  <a:pt x="242873" y="6928"/>
                </a:cubicBezTo>
                <a:lnTo>
                  <a:pt x="277156" y="6"/>
                </a:lnTo>
                <a:lnTo>
                  <a:pt x="277156" y="142"/>
                </a:lnTo>
                <a:cubicBezTo>
                  <a:pt x="282062" y="142"/>
                  <a:pt x="286938" y="539"/>
                  <a:pt x="291758" y="1361"/>
                </a:cubicBezTo>
                <a:cubicBezTo>
                  <a:pt x="339789" y="9413"/>
                  <a:pt x="372169" y="54892"/>
                  <a:pt x="364088" y="102895"/>
                </a:cubicBezTo>
                <a:cubicBezTo>
                  <a:pt x="356036" y="150926"/>
                  <a:pt x="310557" y="183305"/>
                  <a:pt x="262554" y="175225"/>
                </a:cubicBezTo>
                <a:lnTo>
                  <a:pt x="277100" y="139953"/>
                </a:lnTo>
                <a:cubicBezTo>
                  <a:pt x="287534" y="139981"/>
                  <a:pt x="297713" y="136834"/>
                  <a:pt x="306332" y="130936"/>
                </a:cubicBezTo>
                <a:cubicBezTo>
                  <a:pt x="329865" y="114832"/>
                  <a:pt x="335905" y="82707"/>
                  <a:pt x="319800" y="59174"/>
                </a:cubicBezTo>
                <a:cubicBezTo>
                  <a:pt x="303695" y="35640"/>
                  <a:pt x="271571" y="29601"/>
                  <a:pt x="248037" y="45706"/>
                </a:cubicBezTo>
                <a:cubicBezTo>
                  <a:pt x="224504" y="61811"/>
                  <a:pt x="218465" y="93935"/>
                  <a:pt x="234569" y="117469"/>
                </a:cubicBezTo>
                <a:lnTo>
                  <a:pt x="182654" y="138564"/>
                </a:lnTo>
                <a:lnTo>
                  <a:pt x="130824" y="117213"/>
                </a:lnTo>
                <a:lnTo>
                  <a:pt x="139780" y="88250"/>
                </a:lnTo>
                <a:lnTo>
                  <a:pt x="130767" y="59032"/>
                </a:lnTo>
                <a:cubicBezTo>
                  <a:pt x="114663" y="35499"/>
                  <a:pt x="82538" y="29459"/>
                  <a:pt x="59005" y="45564"/>
                </a:cubicBezTo>
                <a:cubicBezTo>
                  <a:pt x="35471" y="61669"/>
                  <a:pt x="29432" y="93793"/>
                  <a:pt x="45537" y="117327"/>
                </a:cubicBezTo>
                <a:cubicBezTo>
                  <a:pt x="61642" y="140860"/>
                  <a:pt x="93766" y="146899"/>
                  <a:pt x="117299" y="130795"/>
                </a:cubicBezTo>
                <a:lnTo>
                  <a:pt x="138508" y="182682"/>
                </a:lnTo>
                <a:lnTo>
                  <a:pt x="117101" y="234512"/>
                </a:lnTo>
                <a:cubicBezTo>
                  <a:pt x="113585" y="232102"/>
                  <a:pt x="109786" y="230117"/>
                  <a:pt x="105760" y="228671"/>
                </a:cubicBezTo>
                <a:cubicBezTo>
                  <a:pt x="100117" y="226629"/>
                  <a:pt x="94163" y="225552"/>
                  <a:pt x="88180" y="225552"/>
                </a:cubicBezTo>
                <a:lnTo>
                  <a:pt x="88180" y="225551"/>
                </a:lnTo>
                <a:lnTo>
                  <a:pt x="58948" y="234568"/>
                </a:lnTo>
                <a:cubicBezTo>
                  <a:pt x="35415" y="250673"/>
                  <a:pt x="29376" y="282797"/>
                  <a:pt x="45480" y="306330"/>
                </a:cubicBezTo>
                <a:cubicBezTo>
                  <a:pt x="61585" y="329864"/>
                  <a:pt x="93710" y="335903"/>
                  <a:pt x="117243" y="319798"/>
                </a:cubicBezTo>
                <a:cubicBezTo>
                  <a:pt x="140776" y="303694"/>
                  <a:pt x="146816" y="271569"/>
                  <a:pt x="130711" y="248036"/>
                </a:cubicBezTo>
                <a:lnTo>
                  <a:pt x="182655" y="226799"/>
                </a:lnTo>
                <a:lnTo>
                  <a:pt x="234456" y="248149"/>
                </a:lnTo>
                <a:cubicBezTo>
                  <a:pt x="228672" y="256712"/>
                  <a:pt x="225553" y="266806"/>
                  <a:pt x="225525" y="277126"/>
                </a:cubicBezTo>
                <a:lnTo>
                  <a:pt x="182655" y="259462"/>
                </a:lnTo>
                <a:lnTo>
                  <a:pt x="175226" y="263602"/>
                </a:lnTo>
                <a:cubicBezTo>
                  <a:pt x="176672" y="272902"/>
                  <a:pt x="176615" y="282400"/>
                  <a:pt x="175056" y="291700"/>
                </a:cubicBezTo>
                <a:cubicBezTo>
                  <a:pt x="167032" y="339674"/>
                  <a:pt x="121609" y="372054"/>
                  <a:pt x="73635" y="364030"/>
                </a:cubicBezTo>
                <a:cubicBezTo>
                  <a:pt x="25661" y="356006"/>
                  <a:pt x="-6718" y="310583"/>
                  <a:pt x="1306" y="262609"/>
                </a:cubicBezTo>
                <a:cubicBezTo>
                  <a:pt x="7324" y="226629"/>
                  <a:pt x="34378" y="199420"/>
                  <a:pt x="67768" y="191450"/>
                </a:cubicBezTo>
                <a:lnTo>
                  <a:pt x="102704" y="190281"/>
                </a:lnTo>
                <a:lnTo>
                  <a:pt x="105845" y="182653"/>
                </a:lnTo>
                <a:lnTo>
                  <a:pt x="101705" y="175253"/>
                </a:lnTo>
                <a:cubicBezTo>
                  <a:pt x="97197" y="175962"/>
                  <a:pt x="92660" y="176302"/>
                  <a:pt x="88095" y="176302"/>
                </a:cubicBezTo>
                <a:cubicBezTo>
                  <a:pt x="39469" y="176274"/>
                  <a:pt x="29" y="136862"/>
                  <a:pt x="1" y="88208"/>
                </a:cubicBezTo>
                <a:cubicBezTo>
                  <a:pt x="-27" y="39525"/>
                  <a:pt x="39412" y="28"/>
                  <a:pt x="88095" y="0"/>
                </a:cubicBezTo>
                <a:close/>
              </a:path>
            </a:pathLst>
          </a:custGeom>
          <a:solidFill>
            <a:schemeClr val="bg1"/>
          </a:solidFill>
        </p:spPr>
        <p:txBody>
          <a:bodyPr wrap="square">
            <a:noAutofit/>
          </a:bodyPr>
          <a:lstStyle>
            <a:lvl1pPr>
              <a:defRPr sz="100">
                <a:solidFill>
                  <a:schemeClr val="bg1">
                    <a:alpha val="0"/>
                  </a:schemeClr>
                </a:solidFill>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11" name="Text Placeholder 3">
            <a:extLst>
              <a:ext uri="{FF2B5EF4-FFF2-40B4-BE49-F238E27FC236}">
                <a16:creationId xmlns:a16="http://schemas.microsoft.com/office/drawing/2014/main" id="{010248EB-08DC-67F8-0BAA-D525554D2B7A}"/>
              </a:ext>
            </a:extLst>
          </p:cNvPr>
          <p:cNvSpPr>
            <a:spLocks noGrp="1"/>
          </p:cNvSpPr>
          <p:nvPr>
            <p:ph type="body" sz="half" idx="12" hasCustomPrompt="1"/>
          </p:nvPr>
        </p:nvSpPr>
        <p:spPr>
          <a:xfrm>
            <a:off x="11355660" y="6426199"/>
            <a:ext cx="379141" cy="146380"/>
          </a:xfrm>
        </p:spPr>
        <p:txBody>
          <a:bodyPr anchor="b" anchorCtr="0"/>
          <a:lstStyle>
            <a:lvl1pPr marL="0" indent="0" algn="r">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fld id="{DB91F917-4553-0B4C-86D1-30F17B222285}" type="slidenum">
              <a:rPr lang="en-US" smtClean="0"/>
              <a:t>‹#›</a:t>
            </a:fld>
            <a:endParaRPr lang="en-US" dirty="0"/>
          </a:p>
        </p:txBody>
      </p:sp>
      <p:sp>
        <p:nvSpPr>
          <p:cNvPr id="3" name="Text Placeholder 3">
            <a:extLst>
              <a:ext uri="{FF2B5EF4-FFF2-40B4-BE49-F238E27FC236}">
                <a16:creationId xmlns:a16="http://schemas.microsoft.com/office/drawing/2014/main" id="{411F9832-5258-C40A-D37B-70EE199D92AB}"/>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4764113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or Statement Pale Navy">
    <p:bg>
      <p:bgPr>
        <a:solidFill>
          <a:srgbClr val="E1EDFF"/>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30771293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146300"/>
          </a:xfrm>
        </p:spPr>
        <p:txBody>
          <a:bodyPr vert="horz"/>
          <a:lstStyle>
            <a:lvl1pPr>
              <a:defRPr sz="6600">
                <a:solidFill>
                  <a:srgbClr val="5009B5"/>
                </a:solidFill>
              </a:defRPr>
            </a:lvl1pPr>
          </a:lstStyle>
          <a:p>
            <a:r>
              <a:rPr lang="en-US" dirty="0"/>
              <a:t>Hero statement </a:t>
            </a:r>
            <a:br>
              <a:rPr lang="en-US" dirty="0"/>
            </a:br>
            <a:r>
              <a:rPr lang="en-US" dirty="0"/>
              <a:t>or divider title here</a:t>
            </a:r>
          </a:p>
        </p:txBody>
      </p:sp>
      <p:sp>
        <p:nvSpPr>
          <p:cNvPr id="18" name="TextBox 17">
            <a:extLst>
              <a:ext uri="{FF2B5EF4-FFF2-40B4-BE49-F238E27FC236}">
                <a16:creationId xmlns:a16="http://schemas.microsoft.com/office/drawing/2014/main" id="{5171EC9A-3FCB-D640-AF36-C3E697D172BC}"/>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pic>
        <p:nvPicPr>
          <p:cNvPr id="7" name="Graphic 6">
            <a:extLst>
              <a:ext uri="{FF2B5EF4-FFF2-40B4-BE49-F238E27FC236}">
                <a16:creationId xmlns:a16="http://schemas.microsoft.com/office/drawing/2014/main" id="{AB06DF94-869D-D84E-B441-85669CD6729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199" y="6181343"/>
            <a:ext cx="365760" cy="365760"/>
          </a:xfrm>
          <a:prstGeom prst="rect">
            <a:avLst/>
          </a:prstGeom>
        </p:spPr>
      </p:pic>
      <p:sp>
        <p:nvSpPr>
          <p:cNvPr id="3" name="Text Placeholder 3">
            <a:extLst>
              <a:ext uri="{FF2B5EF4-FFF2-40B4-BE49-F238E27FC236}">
                <a16:creationId xmlns:a16="http://schemas.microsoft.com/office/drawing/2014/main" id="{DFB7817E-76A9-CFF1-2043-4C71B3BFEE56}"/>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3232014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or Statement Purple">
    <p:bg>
      <p:bgPr>
        <a:solidFill>
          <a:srgbClr val="5009B5"/>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2765841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146300"/>
          </a:xfrm>
        </p:spPr>
        <p:txBody>
          <a:bodyPr vert="horz"/>
          <a:lstStyle>
            <a:lvl1pPr>
              <a:defRPr sz="6600">
                <a:solidFill>
                  <a:schemeClr val="bg1"/>
                </a:solidFill>
              </a:defRPr>
            </a:lvl1pPr>
          </a:lstStyle>
          <a:p>
            <a:r>
              <a:rPr lang="en-US" dirty="0"/>
              <a:t>Hero statement </a:t>
            </a:r>
            <a:br>
              <a:rPr lang="en-US" dirty="0"/>
            </a:br>
            <a:r>
              <a:rPr lang="en-US" dirty="0"/>
              <a:t>or divider title here</a:t>
            </a:r>
          </a:p>
        </p:txBody>
      </p:sp>
      <p:sp>
        <p:nvSpPr>
          <p:cNvPr id="17" name="TextBox 16">
            <a:extLst>
              <a:ext uri="{FF2B5EF4-FFF2-40B4-BE49-F238E27FC236}">
                <a16:creationId xmlns:a16="http://schemas.microsoft.com/office/drawing/2014/main" id="{890AE740-6CAB-F549-92C4-3E31CD5CDCAC}"/>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pic>
        <p:nvPicPr>
          <p:cNvPr id="8" name="Graphic 7">
            <a:extLst>
              <a:ext uri="{FF2B5EF4-FFF2-40B4-BE49-F238E27FC236}">
                <a16:creationId xmlns:a16="http://schemas.microsoft.com/office/drawing/2014/main" id="{22C9D7E0-B66C-364D-998B-7DC36AC05DC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199" y="6181343"/>
            <a:ext cx="365760" cy="365760"/>
          </a:xfrm>
          <a:prstGeom prst="rect">
            <a:avLst/>
          </a:prstGeom>
        </p:spPr>
      </p:pic>
      <p:sp>
        <p:nvSpPr>
          <p:cNvPr id="3" name="Text Placeholder 3">
            <a:extLst>
              <a:ext uri="{FF2B5EF4-FFF2-40B4-BE49-F238E27FC236}">
                <a16:creationId xmlns:a16="http://schemas.microsoft.com/office/drawing/2014/main" id="{FA8BA841-B76E-A57C-D6B0-05A10F8B5810}"/>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4046448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urple Linear Supergraphic">
    <p:bg>
      <p:bgPr>
        <a:solidFill>
          <a:srgbClr val="5009B5"/>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4240814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Arc 6">
            <a:extLst>
              <a:ext uri="{FF2B5EF4-FFF2-40B4-BE49-F238E27FC236}">
                <a16:creationId xmlns:a16="http://schemas.microsoft.com/office/drawing/2014/main" id="{620EC642-4CC9-DC4D-BE90-46572834EF99}"/>
              </a:ext>
            </a:extLst>
          </p:cNvPr>
          <p:cNvSpPr/>
          <p:nvPr/>
        </p:nvSpPr>
        <p:spPr>
          <a:xfrm rot="10800000">
            <a:off x="7700406" y="-5517141"/>
            <a:ext cx="8983187" cy="8983187"/>
          </a:xfrm>
          <a:prstGeom prst="arc">
            <a:avLst>
              <a:gd name="adj1" fmla="val 16200000"/>
              <a:gd name="adj2" fmla="val 20840015"/>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cxnSp>
        <p:nvCxnSpPr>
          <p:cNvPr id="8" name="Straight Connector 7">
            <a:extLst>
              <a:ext uri="{FF2B5EF4-FFF2-40B4-BE49-F238E27FC236}">
                <a16:creationId xmlns:a16="http://schemas.microsoft.com/office/drawing/2014/main" id="{FA9F3445-6864-B14F-A29E-23391F292240}"/>
              </a:ext>
            </a:extLst>
          </p:cNvPr>
          <p:cNvCxnSpPr>
            <a:cxnSpLocks/>
          </p:cNvCxnSpPr>
          <p:nvPr/>
        </p:nvCxnSpPr>
        <p:spPr>
          <a:xfrm>
            <a:off x="0" y="3466047"/>
            <a:ext cx="12192000" cy="0"/>
          </a:xfrm>
          <a:prstGeom prst="line">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cxnSp>
      <p:sp>
        <p:nvSpPr>
          <p:cNvPr id="10" name="Arc 9">
            <a:extLst>
              <a:ext uri="{FF2B5EF4-FFF2-40B4-BE49-F238E27FC236}">
                <a16:creationId xmlns:a16="http://schemas.microsoft.com/office/drawing/2014/main" id="{0635C588-6C55-2E43-BC88-265490E0DB15}"/>
              </a:ext>
            </a:extLst>
          </p:cNvPr>
          <p:cNvSpPr/>
          <p:nvPr/>
        </p:nvSpPr>
        <p:spPr>
          <a:xfrm rot="16200000">
            <a:off x="7700406" y="3466048"/>
            <a:ext cx="8983187" cy="8983187"/>
          </a:xfrm>
          <a:prstGeom prst="arc">
            <a:avLst>
              <a:gd name="adj1" fmla="val 17017882"/>
              <a:gd name="adj2" fmla="val 0"/>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sp>
        <p:nvSpPr>
          <p:cNvPr id="11" name="Title 1">
            <a:extLst>
              <a:ext uri="{FF2B5EF4-FFF2-40B4-BE49-F238E27FC236}">
                <a16:creationId xmlns:a16="http://schemas.microsoft.com/office/drawing/2014/main" id="{1390B095-2D96-6E43-929A-E80EF478568E}"/>
              </a:ext>
            </a:extLst>
          </p:cNvPr>
          <p:cNvSpPr>
            <a:spLocks noGrp="1"/>
          </p:cNvSpPr>
          <p:nvPr>
            <p:ph type="ctrTitle" hasCustomPrompt="1"/>
          </p:nvPr>
        </p:nvSpPr>
        <p:spPr>
          <a:xfrm>
            <a:off x="415088" y="1503979"/>
            <a:ext cx="8349500" cy="1567689"/>
          </a:xfrm>
        </p:spPr>
        <p:txBody>
          <a:bodyPr vert="horz" anchor="b" anchorCtr="0"/>
          <a:lstStyle>
            <a:lvl1pPr algn="l">
              <a:defRPr sz="5200">
                <a:solidFill>
                  <a:schemeClr val="bg1"/>
                </a:solidFill>
              </a:defRPr>
            </a:lvl1pPr>
          </a:lstStyle>
          <a:p>
            <a:r>
              <a:rPr lang="en-US" dirty="0"/>
              <a:t>Click to add  </a:t>
            </a:r>
            <a:br>
              <a:rPr lang="en-US" dirty="0"/>
            </a:br>
            <a:r>
              <a:rPr lang="en-US" dirty="0"/>
              <a:t>presentation title</a:t>
            </a:r>
          </a:p>
        </p:txBody>
      </p:sp>
      <p:sp>
        <p:nvSpPr>
          <p:cNvPr id="12" name="Subtitle 2">
            <a:extLst>
              <a:ext uri="{FF2B5EF4-FFF2-40B4-BE49-F238E27FC236}">
                <a16:creationId xmlns:a16="http://schemas.microsoft.com/office/drawing/2014/main" id="{BBE8C3BB-E299-1045-A7F2-6999E3919628}"/>
              </a:ext>
            </a:extLst>
          </p:cNvPr>
          <p:cNvSpPr>
            <a:spLocks noGrp="1"/>
          </p:cNvSpPr>
          <p:nvPr>
            <p:ph type="subTitle" idx="1" hasCustomPrompt="1"/>
          </p:nvPr>
        </p:nvSpPr>
        <p:spPr>
          <a:xfrm>
            <a:off x="415088" y="4517136"/>
            <a:ext cx="5638800" cy="228600"/>
          </a:xfrm>
        </p:spPr>
        <p:txBody>
          <a:bodyPr/>
          <a:lstStyle>
            <a:lvl1pPr marL="0" indent="0" algn="l">
              <a:buNone/>
              <a:defRPr sz="1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3" name="Text Placeholder 11">
            <a:extLst>
              <a:ext uri="{FF2B5EF4-FFF2-40B4-BE49-F238E27FC236}">
                <a16:creationId xmlns:a16="http://schemas.microsoft.com/office/drawing/2014/main" id="{50FC71C6-D550-E544-AF63-6785F09DCCB1}"/>
              </a:ext>
            </a:extLst>
          </p:cNvPr>
          <p:cNvSpPr>
            <a:spLocks noGrp="1"/>
          </p:cNvSpPr>
          <p:nvPr>
            <p:ph type="body" sz="quarter" idx="11" hasCustomPrompt="1"/>
          </p:nvPr>
        </p:nvSpPr>
        <p:spPr>
          <a:xfrm>
            <a:off x="415088" y="4758997"/>
            <a:ext cx="5638800" cy="224536"/>
          </a:xfrm>
        </p:spPr>
        <p:txBody>
          <a:bodyPr vert="horz" lIns="0" tIns="0" rIns="0" bIns="0" rtlCol="0">
            <a:noAutofit/>
          </a:bodyPr>
          <a:lstStyle>
            <a:lvl1pPr>
              <a:defRPr lang="en-US" sz="1800" i="0" dirty="0">
                <a:solidFill>
                  <a:schemeClr val="bg1"/>
                </a:solidFill>
                <a:latin typeface="+mn-lt"/>
              </a:defRPr>
            </a:lvl1pPr>
          </a:lstStyle>
          <a:p>
            <a:pPr lvl="0"/>
            <a:r>
              <a:rPr lang="en-US" dirty="0"/>
              <a:t>Click to add date</a:t>
            </a:r>
          </a:p>
        </p:txBody>
      </p:sp>
      <p:pic>
        <p:nvPicPr>
          <p:cNvPr id="14" name="Graphic 13">
            <a:extLst>
              <a:ext uri="{FF2B5EF4-FFF2-40B4-BE49-F238E27FC236}">
                <a16:creationId xmlns:a16="http://schemas.microsoft.com/office/drawing/2014/main" id="{B1842525-1E1E-1269-F797-58F7F571EA0C}"/>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86969" y="578424"/>
            <a:ext cx="1785575" cy="384339"/>
          </a:xfrm>
          <a:prstGeom prst="rect">
            <a:avLst/>
          </a:prstGeom>
        </p:spPr>
      </p:pic>
    </p:spTree>
    <p:extLst>
      <p:ext uri="{BB962C8B-B14F-4D97-AF65-F5344CB8AC3E}">
        <p14:creationId xmlns:p14="http://schemas.microsoft.com/office/powerpoint/2010/main" val="39627165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ivider or Statement Linear Supergraphic">
    <p:bg>
      <p:bgPr>
        <a:solidFill>
          <a:srgbClr val="5009B5"/>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36714935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Arc 8">
            <a:extLst>
              <a:ext uri="{FF2B5EF4-FFF2-40B4-BE49-F238E27FC236}">
                <a16:creationId xmlns:a16="http://schemas.microsoft.com/office/drawing/2014/main" id="{3CC3D56B-1DDC-7B46-ACFF-189DADCC9727}"/>
              </a:ext>
            </a:extLst>
          </p:cNvPr>
          <p:cNvSpPr/>
          <p:nvPr/>
        </p:nvSpPr>
        <p:spPr>
          <a:xfrm rot="10800000">
            <a:off x="6817543" y="-7579128"/>
            <a:ext cx="11020827" cy="11020826"/>
          </a:xfrm>
          <a:prstGeom prst="arc">
            <a:avLst>
              <a:gd name="adj1" fmla="val 16200000"/>
              <a:gd name="adj2" fmla="val 20324932"/>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sp>
        <p:nvSpPr>
          <p:cNvPr id="10" name="Arc 9">
            <a:extLst>
              <a:ext uri="{FF2B5EF4-FFF2-40B4-BE49-F238E27FC236}">
                <a16:creationId xmlns:a16="http://schemas.microsoft.com/office/drawing/2014/main" id="{E964816C-5828-F543-8E86-D7C70C76ED78}"/>
              </a:ext>
            </a:extLst>
          </p:cNvPr>
          <p:cNvSpPr/>
          <p:nvPr/>
        </p:nvSpPr>
        <p:spPr>
          <a:xfrm rot="16200000">
            <a:off x="6817543" y="3441700"/>
            <a:ext cx="11020826" cy="11020827"/>
          </a:xfrm>
          <a:prstGeom prst="arc">
            <a:avLst>
              <a:gd name="adj1" fmla="val 17502107"/>
              <a:gd name="adj2" fmla="val 0"/>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sp>
        <p:nvSpPr>
          <p:cNvPr id="11" name="Arc 10">
            <a:extLst>
              <a:ext uri="{FF2B5EF4-FFF2-40B4-BE49-F238E27FC236}">
                <a16:creationId xmlns:a16="http://schemas.microsoft.com/office/drawing/2014/main" id="{332B99F5-3B29-CC40-B944-F50BA0B0F19A}"/>
              </a:ext>
            </a:extLst>
          </p:cNvPr>
          <p:cNvSpPr/>
          <p:nvPr/>
        </p:nvSpPr>
        <p:spPr>
          <a:xfrm rot="10800000" flipH="1">
            <a:off x="-5556492" y="-7579128"/>
            <a:ext cx="11020827" cy="11020826"/>
          </a:xfrm>
          <a:prstGeom prst="arc">
            <a:avLst>
              <a:gd name="adj1" fmla="val 16200000"/>
              <a:gd name="adj2" fmla="val 20316416"/>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sp>
        <p:nvSpPr>
          <p:cNvPr id="12" name="Arc 11">
            <a:extLst>
              <a:ext uri="{FF2B5EF4-FFF2-40B4-BE49-F238E27FC236}">
                <a16:creationId xmlns:a16="http://schemas.microsoft.com/office/drawing/2014/main" id="{2B2063DF-792C-F94D-98E4-7344283EDFAE}"/>
              </a:ext>
            </a:extLst>
          </p:cNvPr>
          <p:cNvSpPr/>
          <p:nvPr/>
        </p:nvSpPr>
        <p:spPr>
          <a:xfrm rot="5400000" flipH="1">
            <a:off x="-5556492" y="3441700"/>
            <a:ext cx="11020826" cy="11020827"/>
          </a:xfrm>
          <a:prstGeom prst="arc">
            <a:avLst>
              <a:gd name="adj1" fmla="val 17492116"/>
              <a:gd name="adj2" fmla="val 0"/>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146300"/>
          </a:xfrm>
        </p:spPr>
        <p:txBody>
          <a:bodyPr vert="horz"/>
          <a:lstStyle>
            <a:lvl1pPr>
              <a:defRPr sz="6600">
                <a:solidFill>
                  <a:schemeClr val="bg1"/>
                </a:solidFill>
              </a:defRPr>
            </a:lvl1pPr>
          </a:lstStyle>
          <a:p>
            <a:r>
              <a:rPr lang="en-US" dirty="0"/>
              <a:t>Hero statement </a:t>
            </a:r>
            <a:br>
              <a:rPr lang="en-US" dirty="0"/>
            </a:br>
            <a:r>
              <a:rPr lang="en-US" dirty="0"/>
              <a:t>or divider title here</a:t>
            </a:r>
          </a:p>
        </p:txBody>
      </p:sp>
      <p:sp>
        <p:nvSpPr>
          <p:cNvPr id="17" name="TextBox 16">
            <a:extLst>
              <a:ext uri="{FF2B5EF4-FFF2-40B4-BE49-F238E27FC236}">
                <a16:creationId xmlns:a16="http://schemas.microsoft.com/office/drawing/2014/main" id="{890AE740-6CAB-F549-92C4-3E31CD5CDCAC}"/>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pic>
        <p:nvPicPr>
          <p:cNvPr id="8" name="Graphic 7">
            <a:extLst>
              <a:ext uri="{FF2B5EF4-FFF2-40B4-BE49-F238E27FC236}">
                <a16:creationId xmlns:a16="http://schemas.microsoft.com/office/drawing/2014/main" id="{22C9D7E0-B66C-364D-998B-7DC36AC05DC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199" y="6181343"/>
            <a:ext cx="365760" cy="365760"/>
          </a:xfrm>
          <a:prstGeom prst="rect">
            <a:avLst/>
          </a:prstGeom>
        </p:spPr>
      </p:pic>
      <p:sp>
        <p:nvSpPr>
          <p:cNvPr id="3" name="Text Placeholder 3">
            <a:extLst>
              <a:ext uri="{FF2B5EF4-FFF2-40B4-BE49-F238E27FC236}">
                <a16:creationId xmlns:a16="http://schemas.microsoft.com/office/drawing/2014/main" id="{51B6F5D8-132D-7887-249D-D1B8391FDD3D}"/>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21335666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3718518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2800">
                <a:solidFill>
                  <a:srgbClr val="5009B5"/>
                </a:solidFill>
                <a:latin typeface="+mj-lt"/>
              </a:defRPr>
            </a:lvl1pPr>
          </a:lstStyle>
          <a:p>
            <a:pPr lvl="0"/>
            <a:r>
              <a:rPr lang="en-US" dirty="0"/>
              <a:t>Click to edit master text styles</a:t>
            </a:r>
          </a:p>
        </p:txBody>
      </p:sp>
      <p:sp>
        <p:nvSpPr>
          <p:cNvPr id="4" name="Freeform 3">
            <a:extLst>
              <a:ext uri="{FF2B5EF4-FFF2-40B4-BE49-F238E27FC236}">
                <a16:creationId xmlns:a16="http://schemas.microsoft.com/office/drawing/2014/main" id="{BB7AEB5F-5A12-4849-8321-7BDC78220BA5}"/>
              </a:ext>
            </a:extLst>
          </p:cNvPr>
          <p:cNvSpPr/>
          <p:nvPr/>
        </p:nvSpPr>
        <p:spPr>
          <a:xfrm>
            <a:off x="457200" y="1229951"/>
            <a:ext cx="713929" cy="542703"/>
          </a:xfrm>
          <a:custGeom>
            <a:avLst/>
            <a:gdLst>
              <a:gd name="connsiteX0" fmla="*/ 0 w 713929"/>
              <a:gd name="connsiteY0" fmla="*/ 405722 h 542703"/>
              <a:gd name="connsiteX1" fmla="*/ 44841 w 713929"/>
              <a:gd name="connsiteY1" fmla="*/ 276573 h 542703"/>
              <a:gd name="connsiteX2" fmla="*/ 205472 w 713929"/>
              <a:gd name="connsiteY2" fmla="*/ 0 h 542703"/>
              <a:gd name="connsiteX3" fmla="*/ 321414 w 713929"/>
              <a:gd name="connsiteY3" fmla="*/ 0 h 542703"/>
              <a:gd name="connsiteX4" fmla="*/ 187044 w 713929"/>
              <a:gd name="connsiteY4" fmla="*/ 281948 h 542703"/>
              <a:gd name="connsiteX5" fmla="*/ 279183 w 713929"/>
              <a:gd name="connsiteY5" fmla="*/ 405722 h 542703"/>
              <a:gd name="connsiteX6" fmla="*/ 139592 w 713929"/>
              <a:gd name="connsiteY6" fmla="*/ 542703 h 542703"/>
              <a:gd name="connsiteX7" fmla="*/ 0 w 713929"/>
              <a:gd name="connsiteY7" fmla="*/ 405722 h 542703"/>
              <a:gd name="connsiteX8" fmla="*/ 392515 w 713929"/>
              <a:gd name="connsiteY8" fmla="*/ 405722 h 542703"/>
              <a:gd name="connsiteX9" fmla="*/ 434592 w 713929"/>
              <a:gd name="connsiteY9" fmla="*/ 276573 h 542703"/>
              <a:gd name="connsiteX10" fmla="*/ 595376 w 713929"/>
              <a:gd name="connsiteY10" fmla="*/ 0 h 542703"/>
              <a:gd name="connsiteX11" fmla="*/ 713930 w 713929"/>
              <a:gd name="connsiteY11" fmla="*/ 0 h 542703"/>
              <a:gd name="connsiteX12" fmla="*/ 579559 w 713929"/>
              <a:gd name="connsiteY12" fmla="*/ 281948 h 542703"/>
              <a:gd name="connsiteX13" fmla="*/ 669088 w 713929"/>
              <a:gd name="connsiteY13" fmla="*/ 405722 h 542703"/>
              <a:gd name="connsiteX14" fmla="*/ 532107 w 713929"/>
              <a:gd name="connsiteY14" fmla="*/ 542703 h 542703"/>
              <a:gd name="connsiteX15" fmla="*/ 392515 w 713929"/>
              <a:gd name="connsiteY15" fmla="*/ 405722 h 54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3929" h="542703">
                <a:moveTo>
                  <a:pt x="0" y="405722"/>
                </a:moveTo>
                <a:cubicBezTo>
                  <a:pt x="0" y="368866"/>
                  <a:pt x="13207" y="324025"/>
                  <a:pt x="44841" y="276573"/>
                </a:cubicBezTo>
                <a:lnTo>
                  <a:pt x="205472" y="0"/>
                </a:lnTo>
                <a:lnTo>
                  <a:pt x="321414" y="0"/>
                </a:lnTo>
                <a:lnTo>
                  <a:pt x="187044" y="281948"/>
                </a:lnTo>
                <a:cubicBezTo>
                  <a:pt x="239717" y="302986"/>
                  <a:pt x="279183" y="347828"/>
                  <a:pt x="279183" y="405722"/>
                </a:cubicBezTo>
                <a:cubicBezTo>
                  <a:pt x="279183" y="482044"/>
                  <a:pt x="218525" y="542703"/>
                  <a:pt x="139592" y="542703"/>
                </a:cubicBezTo>
                <a:cubicBezTo>
                  <a:pt x="60659" y="542703"/>
                  <a:pt x="0" y="482044"/>
                  <a:pt x="0" y="405722"/>
                </a:cubicBezTo>
                <a:close/>
                <a:moveTo>
                  <a:pt x="392515" y="405722"/>
                </a:moveTo>
                <a:cubicBezTo>
                  <a:pt x="392515" y="368866"/>
                  <a:pt x="405722" y="324025"/>
                  <a:pt x="434592" y="276573"/>
                </a:cubicBezTo>
                <a:lnTo>
                  <a:pt x="595376" y="0"/>
                </a:lnTo>
                <a:lnTo>
                  <a:pt x="713930" y="0"/>
                </a:lnTo>
                <a:lnTo>
                  <a:pt x="579559" y="281948"/>
                </a:lnTo>
                <a:cubicBezTo>
                  <a:pt x="632232" y="302986"/>
                  <a:pt x="669088" y="347828"/>
                  <a:pt x="669088" y="405722"/>
                </a:cubicBezTo>
                <a:cubicBezTo>
                  <a:pt x="669088" y="482044"/>
                  <a:pt x="611194" y="542703"/>
                  <a:pt x="532107" y="542703"/>
                </a:cubicBezTo>
                <a:cubicBezTo>
                  <a:pt x="453020" y="542703"/>
                  <a:pt x="392515" y="482044"/>
                  <a:pt x="392515" y="405722"/>
                </a:cubicBezTo>
                <a:close/>
              </a:path>
            </a:pathLst>
          </a:custGeom>
          <a:solidFill>
            <a:schemeClr val="accent2"/>
          </a:solidFill>
          <a:ln w="15329" cap="flat">
            <a:noFill/>
            <a:prstDash val="solid"/>
            <a:miter/>
          </a:ln>
        </p:spPr>
        <p:txBody>
          <a:bodyPr rtlCol="0" anchor="ctr"/>
          <a:lstStyle/>
          <a:p>
            <a:endParaRPr lang="en-US" dirty="0">
              <a:solidFill>
                <a:schemeClr val="accent5"/>
              </a:solidFill>
            </a:endParaRPr>
          </a:p>
        </p:txBody>
      </p:sp>
      <p:sp>
        <p:nvSpPr>
          <p:cNvPr id="2" name="Text Placeholder 3">
            <a:extLst>
              <a:ext uri="{FF2B5EF4-FFF2-40B4-BE49-F238E27FC236}">
                <a16:creationId xmlns:a16="http://schemas.microsoft.com/office/drawing/2014/main" id="{241C57BE-78BC-306C-C5DB-8CB88662CF19}"/>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47483179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Quote Dark Purple">
    <p:bg>
      <p:bgPr>
        <a:solidFill>
          <a:srgbClr val="2B1B49"/>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23738677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2800">
                <a:solidFill>
                  <a:schemeClr val="bg1"/>
                </a:solidFill>
                <a:latin typeface="+mj-lt"/>
              </a:defRPr>
            </a:lvl1pPr>
          </a:lstStyle>
          <a:p>
            <a:pPr lvl="0"/>
            <a:r>
              <a:rPr lang="en-US" dirty="0"/>
              <a:t>Click to edit master text styles</a:t>
            </a:r>
          </a:p>
        </p:txBody>
      </p:sp>
      <p:sp>
        <p:nvSpPr>
          <p:cNvPr id="10" name="TextBox 9">
            <a:extLst>
              <a:ext uri="{FF2B5EF4-FFF2-40B4-BE49-F238E27FC236}">
                <a16:creationId xmlns:a16="http://schemas.microsoft.com/office/drawing/2014/main" id="{5BEE62C7-B07C-3340-AA0C-134CBE664315}"/>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
        <p:nvSpPr>
          <p:cNvPr id="13" name="Freeform 12">
            <a:extLst>
              <a:ext uri="{FF2B5EF4-FFF2-40B4-BE49-F238E27FC236}">
                <a16:creationId xmlns:a16="http://schemas.microsoft.com/office/drawing/2014/main" id="{5D20399E-76CF-2149-B65E-025FF7F7B6B3}"/>
              </a:ext>
            </a:extLst>
          </p:cNvPr>
          <p:cNvSpPr/>
          <p:nvPr/>
        </p:nvSpPr>
        <p:spPr>
          <a:xfrm>
            <a:off x="457200" y="1229951"/>
            <a:ext cx="713929" cy="542703"/>
          </a:xfrm>
          <a:custGeom>
            <a:avLst/>
            <a:gdLst>
              <a:gd name="connsiteX0" fmla="*/ 0 w 713929"/>
              <a:gd name="connsiteY0" fmla="*/ 405722 h 542703"/>
              <a:gd name="connsiteX1" fmla="*/ 44841 w 713929"/>
              <a:gd name="connsiteY1" fmla="*/ 276573 h 542703"/>
              <a:gd name="connsiteX2" fmla="*/ 205472 w 713929"/>
              <a:gd name="connsiteY2" fmla="*/ 0 h 542703"/>
              <a:gd name="connsiteX3" fmla="*/ 321414 w 713929"/>
              <a:gd name="connsiteY3" fmla="*/ 0 h 542703"/>
              <a:gd name="connsiteX4" fmla="*/ 187044 w 713929"/>
              <a:gd name="connsiteY4" fmla="*/ 281948 h 542703"/>
              <a:gd name="connsiteX5" fmla="*/ 279183 w 713929"/>
              <a:gd name="connsiteY5" fmla="*/ 405722 h 542703"/>
              <a:gd name="connsiteX6" fmla="*/ 139592 w 713929"/>
              <a:gd name="connsiteY6" fmla="*/ 542703 h 542703"/>
              <a:gd name="connsiteX7" fmla="*/ 0 w 713929"/>
              <a:gd name="connsiteY7" fmla="*/ 405722 h 542703"/>
              <a:gd name="connsiteX8" fmla="*/ 392515 w 713929"/>
              <a:gd name="connsiteY8" fmla="*/ 405722 h 542703"/>
              <a:gd name="connsiteX9" fmla="*/ 434592 w 713929"/>
              <a:gd name="connsiteY9" fmla="*/ 276573 h 542703"/>
              <a:gd name="connsiteX10" fmla="*/ 595376 w 713929"/>
              <a:gd name="connsiteY10" fmla="*/ 0 h 542703"/>
              <a:gd name="connsiteX11" fmla="*/ 713930 w 713929"/>
              <a:gd name="connsiteY11" fmla="*/ 0 h 542703"/>
              <a:gd name="connsiteX12" fmla="*/ 579559 w 713929"/>
              <a:gd name="connsiteY12" fmla="*/ 281948 h 542703"/>
              <a:gd name="connsiteX13" fmla="*/ 669088 w 713929"/>
              <a:gd name="connsiteY13" fmla="*/ 405722 h 542703"/>
              <a:gd name="connsiteX14" fmla="*/ 532107 w 713929"/>
              <a:gd name="connsiteY14" fmla="*/ 542703 h 542703"/>
              <a:gd name="connsiteX15" fmla="*/ 392515 w 713929"/>
              <a:gd name="connsiteY15" fmla="*/ 405722 h 54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3929" h="542703">
                <a:moveTo>
                  <a:pt x="0" y="405722"/>
                </a:moveTo>
                <a:cubicBezTo>
                  <a:pt x="0" y="368866"/>
                  <a:pt x="13207" y="324025"/>
                  <a:pt x="44841" y="276573"/>
                </a:cubicBezTo>
                <a:lnTo>
                  <a:pt x="205472" y="0"/>
                </a:lnTo>
                <a:lnTo>
                  <a:pt x="321414" y="0"/>
                </a:lnTo>
                <a:lnTo>
                  <a:pt x="187044" y="281948"/>
                </a:lnTo>
                <a:cubicBezTo>
                  <a:pt x="239717" y="302986"/>
                  <a:pt x="279183" y="347828"/>
                  <a:pt x="279183" y="405722"/>
                </a:cubicBezTo>
                <a:cubicBezTo>
                  <a:pt x="279183" y="482044"/>
                  <a:pt x="218525" y="542703"/>
                  <a:pt x="139592" y="542703"/>
                </a:cubicBezTo>
                <a:cubicBezTo>
                  <a:pt x="60659" y="542703"/>
                  <a:pt x="0" y="482044"/>
                  <a:pt x="0" y="405722"/>
                </a:cubicBezTo>
                <a:close/>
                <a:moveTo>
                  <a:pt x="392515" y="405722"/>
                </a:moveTo>
                <a:cubicBezTo>
                  <a:pt x="392515" y="368866"/>
                  <a:pt x="405722" y="324025"/>
                  <a:pt x="434592" y="276573"/>
                </a:cubicBezTo>
                <a:lnTo>
                  <a:pt x="595376" y="0"/>
                </a:lnTo>
                <a:lnTo>
                  <a:pt x="713930" y="0"/>
                </a:lnTo>
                <a:lnTo>
                  <a:pt x="579559" y="281948"/>
                </a:lnTo>
                <a:cubicBezTo>
                  <a:pt x="632232" y="302986"/>
                  <a:pt x="669088" y="347828"/>
                  <a:pt x="669088" y="405722"/>
                </a:cubicBezTo>
                <a:cubicBezTo>
                  <a:pt x="669088" y="482044"/>
                  <a:pt x="611194" y="542703"/>
                  <a:pt x="532107" y="542703"/>
                </a:cubicBezTo>
                <a:cubicBezTo>
                  <a:pt x="453020" y="542703"/>
                  <a:pt x="392515" y="482044"/>
                  <a:pt x="392515" y="405722"/>
                </a:cubicBezTo>
                <a:close/>
              </a:path>
            </a:pathLst>
          </a:custGeom>
          <a:solidFill>
            <a:srgbClr val="794CFF"/>
          </a:solidFill>
          <a:ln w="15329" cap="flat">
            <a:noFill/>
            <a:prstDash val="solid"/>
            <a:miter/>
          </a:ln>
        </p:spPr>
        <p:txBody>
          <a:bodyPr rtlCol="0" anchor="ctr"/>
          <a:lstStyle/>
          <a:p>
            <a:endParaRPr lang="en-US" dirty="0"/>
          </a:p>
        </p:txBody>
      </p:sp>
      <p:pic>
        <p:nvPicPr>
          <p:cNvPr id="9" name="Graphic 8">
            <a:extLst>
              <a:ext uri="{FF2B5EF4-FFF2-40B4-BE49-F238E27FC236}">
                <a16:creationId xmlns:a16="http://schemas.microsoft.com/office/drawing/2014/main" id="{80B1E988-E9EB-CD4B-BB13-EB7636E3D898}"/>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199" y="6181343"/>
            <a:ext cx="365760" cy="365760"/>
          </a:xfrm>
          <a:prstGeom prst="rect">
            <a:avLst/>
          </a:prstGeom>
        </p:spPr>
      </p:pic>
      <p:sp>
        <p:nvSpPr>
          <p:cNvPr id="2" name="Text Placeholder 3">
            <a:extLst>
              <a:ext uri="{FF2B5EF4-FFF2-40B4-BE49-F238E27FC236}">
                <a16:creationId xmlns:a16="http://schemas.microsoft.com/office/drawing/2014/main" id="{B2D39F53-3421-76AC-6885-5E453B44B888}"/>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422131816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Quote Purple">
    <p:bg>
      <p:bgPr>
        <a:solidFill>
          <a:srgbClr val="5009B5"/>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23738677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2800">
                <a:solidFill>
                  <a:schemeClr val="bg1"/>
                </a:solidFill>
                <a:latin typeface="+mj-lt"/>
              </a:defRPr>
            </a:lvl1pPr>
          </a:lstStyle>
          <a:p>
            <a:pPr lvl="0"/>
            <a:r>
              <a:rPr lang="en-US" dirty="0"/>
              <a:t>Click to edit master text styles</a:t>
            </a:r>
          </a:p>
        </p:txBody>
      </p:sp>
      <p:sp>
        <p:nvSpPr>
          <p:cNvPr id="10" name="TextBox 9">
            <a:extLst>
              <a:ext uri="{FF2B5EF4-FFF2-40B4-BE49-F238E27FC236}">
                <a16:creationId xmlns:a16="http://schemas.microsoft.com/office/drawing/2014/main" id="{5BEE62C7-B07C-3340-AA0C-134CBE664315}"/>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
        <p:nvSpPr>
          <p:cNvPr id="13" name="Freeform 12">
            <a:extLst>
              <a:ext uri="{FF2B5EF4-FFF2-40B4-BE49-F238E27FC236}">
                <a16:creationId xmlns:a16="http://schemas.microsoft.com/office/drawing/2014/main" id="{5D20399E-76CF-2149-B65E-025FF7F7B6B3}"/>
              </a:ext>
            </a:extLst>
          </p:cNvPr>
          <p:cNvSpPr/>
          <p:nvPr/>
        </p:nvSpPr>
        <p:spPr>
          <a:xfrm>
            <a:off x="457200" y="1229951"/>
            <a:ext cx="713929" cy="542703"/>
          </a:xfrm>
          <a:custGeom>
            <a:avLst/>
            <a:gdLst>
              <a:gd name="connsiteX0" fmla="*/ 0 w 713929"/>
              <a:gd name="connsiteY0" fmla="*/ 405722 h 542703"/>
              <a:gd name="connsiteX1" fmla="*/ 44841 w 713929"/>
              <a:gd name="connsiteY1" fmla="*/ 276573 h 542703"/>
              <a:gd name="connsiteX2" fmla="*/ 205472 w 713929"/>
              <a:gd name="connsiteY2" fmla="*/ 0 h 542703"/>
              <a:gd name="connsiteX3" fmla="*/ 321414 w 713929"/>
              <a:gd name="connsiteY3" fmla="*/ 0 h 542703"/>
              <a:gd name="connsiteX4" fmla="*/ 187044 w 713929"/>
              <a:gd name="connsiteY4" fmla="*/ 281948 h 542703"/>
              <a:gd name="connsiteX5" fmla="*/ 279183 w 713929"/>
              <a:gd name="connsiteY5" fmla="*/ 405722 h 542703"/>
              <a:gd name="connsiteX6" fmla="*/ 139592 w 713929"/>
              <a:gd name="connsiteY6" fmla="*/ 542703 h 542703"/>
              <a:gd name="connsiteX7" fmla="*/ 0 w 713929"/>
              <a:gd name="connsiteY7" fmla="*/ 405722 h 542703"/>
              <a:gd name="connsiteX8" fmla="*/ 392515 w 713929"/>
              <a:gd name="connsiteY8" fmla="*/ 405722 h 542703"/>
              <a:gd name="connsiteX9" fmla="*/ 434592 w 713929"/>
              <a:gd name="connsiteY9" fmla="*/ 276573 h 542703"/>
              <a:gd name="connsiteX10" fmla="*/ 595376 w 713929"/>
              <a:gd name="connsiteY10" fmla="*/ 0 h 542703"/>
              <a:gd name="connsiteX11" fmla="*/ 713930 w 713929"/>
              <a:gd name="connsiteY11" fmla="*/ 0 h 542703"/>
              <a:gd name="connsiteX12" fmla="*/ 579559 w 713929"/>
              <a:gd name="connsiteY12" fmla="*/ 281948 h 542703"/>
              <a:gd name="connsiteX13" fmla="*/ 669088 w 713929"/>
              <a:gd name="connsiteY13" fmla="*/ 405722 h 542703"/>
              <a:gd name="connsiteX14" fmla="*/ 532107 w 713929"/>
              <a:gd name="connsiteY14" fmla="*/ 542703 h 542703"/>
              <a:gd name="connsiteX15" fmla="*/ 392515 w 713929"/>
              <a:gd name="connsiteY15" fmla="*/ 405722 h 54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3929" h="542703">
                <a:moveTo>
                  <a:pt x="0" y="405722"/>
                </a:moveTo>
                <a:cubicBezTo>
                  <a:pt x="0" y="368866"/>
                  <a:pt x="13207" y="324025"/>
                  <a:pt x="44841" y="276573"/>
                </a:cubicBezTo>
                <a:lnTo>
                  <a:pt x="205472" y="0"/>
                </a:lnTo>
                <a:lnTo>
                  <a:pt x="321414" y="0"/>
                </a:lnTo>
                <a:lnTo>
                  <a:pt x="187044" y="281948"/>
                </a:lnTo>
                <a:cubicBezTo>
                  <a:pt x="239717" y="302986"/>
                  <a:pt x="279183" y="347828"/>
                  <a:pt x="279183" y="405722"/>
                </a:cubicBezTo>
                <a:cubicBezTo>
                  <a:pt x="279183" y="482044"/>
                  <a:pt x="218525" y="542703"/>
                  <a:pt x="139592" y="542703"/>
                </a:cubicBezTo>
                <a:cubicBezTo>
                  <a:pt x="60659" y="542703"/>
                  <a:pt x="0" y="482044"/>
                  <a:pt x="0" y="405722"/>
                </a:cubicBezTo>
                <a:close/>
                <a:moveTo>
                  <a:pt x="392515" y="405722"/>
                </a:moveTo>
                <a:cubicBezTo>
                  <a:pt x="392515" y="368866"/>
                  <a:pt x="405722" y="324025"/>
                  <a:pt x="434592" y="276573"/>
                </a:cubicBezTo>
                <a:lnTo>
                  <a:pt x="595376" y="0"/>
                </a:lnTo>
                <a:lnTo>
                  <a:pt x="713930" y="0"/>
                </a:lnTo>
                <a:lnTo>
                  <a:pt x="579559" y="281948"/>
                </a:lnTo>
                <a:cubicBezTo>
                  <a:pt x="632232" y="302986"/>
                  <a:pt x="669088" y="347828"/>
                  <a:pt x="669088" y="405722"/>
                </a:cubicBezTo>
                <a:cubicBezTo>
                  <a:pt x="669088" y="482044"/>
                  <a:pt x="611194" y="542703"/>
                  <a:pt x="532107" y="542703"/>
                </a:cubicBezTo>
                <a:cubicBezTo>
                  <a:pt x="453020" y="542703"/>
                  <a:pt x="392515" y="482044"/>
                  <a:pt x="392515" y="405722"/>
                </a:cubicBezTo>
                <a:close/>
              </a:path>
            </a:pathLst>
          </a:custGeom>
          <a:solidFill>
            <a:schemeClr val="bg1"/>
          </a:solidFill>
          <a:ln w="15329" cap="flat">
            <a:noFill/>
            <a:prstDash val="solid"/>
            <a:miter/>
          </a:ln>
        </p:spPr>
        <p:txBody>
          <a:bodyPr rtlCol="0" anchor="ctr"/>
          <a:lstStyle/>
          <a:p>
            <a:endParaRPr lang="en-US" dirty="0"/>
          </a:p>
        </p:txBody>
      </p:sp>
      <p:pic>
        <p:nvPicPr>
          <p:cNvPr id="9" name="Graphic 8">
            <a:extLst>
              <a:ext uri="{FF2B5EF4-FFF2-40B4-BE49-F238E27FC236}">
                <a16:creationId xmlns:a16="http://schemas.microsoft.com/office/drawing/2014/main" id="{A2275E4F-1DD8-BD4C-839F-E0B290CCE1F7}"/>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199" y="6181343"/>
            <a:ext cx="365760" cy="365760"/>
          </a:xfrm>
          <a:prstGeom prst="rect">
            <a:avLst/>
          </a:prstGeom>
        </p:spPr>
      </p:pic>
      <p:sp>
        <p:nvSpPr>
          <p:cNvPr id="2" name="Text Placeholder 3">
            <a:extLst>
              <a:ext uri="{FF2B5EF4-FFF2-40B4-BE49-F238E27FC236}">
                <a16:creationId xmlns:a16="http://schemas.microsoft.com/office/drawing/2014/main" id="{574A1C6A-75E1-E73D-1785-3B41823664BE}"/>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1122258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ar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6BD2943-DB3A-6F45-8E73-6B1C54FB6CB8}"/>
              </a:ext>
            </a:extLst>
          </p:cNvPr>
          <p:cNvSpPr/>
          <p:nvPr/>
        </p:nvSpPr>
        <p:spPr>
          <a:xfrm>
            <a:off x="0" y="0"/>
            <a:ext cx="12192000" cy="1207008"/>
          </a:xfrm>
          <a:prstGeom prst="rect">
            <a:avLst/>
          </a:prstGeom>
          <a:solidFill>
            <a:srgbClr val="E1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22972913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p>
            <a:r>
              <a:rPr lang="en-US" dirty="0"/>
              <a:t>Click to edit master title style</a:t>
            </a:r>
          </a:p>
        </p:txBody>
      </p:sp>
      <p:sp>
        <p:nvSpPr>
          <p:cNvPr id="11" name="TextBox 10">
            <a:extLst>
              <a:ext uri="{FF2B5EF4-FFF2-40B4-BE49-F238E27FC236}">
                <a16:creationId xmlns:a16="http://schemas.microsoft.com/office/drawing/2014/main" id="{AFD28C7D-8653-A64D-9D01-E67E0D43199F}"/>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sp>
        <p:nvSpPr>
          <p:cNvPr id="9" name="Content Placeholder 2">
            <a:extLst>
              <a:ext uri="{FF2B5EF4-FFF2-40B4-BE49-F238E27FC236}">
                <a16:creationId xmlns:a16="http://schemas.microsoft.com/office/drawing/2014/main" id="{4D13FCD8-11F4-9046-9E35-10C205A4D8EF}"/>
              </a:ext>
            </a:extLst>
          </p:cNvPr>
          <p:cNvSpPr>
            <a:spLocks noGrp="1"/>
          </p:cNvSpPr>
          <p:nvPr>
            <p:ph idx="1" hasCustomPrompt="1"/>
          </p:nvPr>
        </p:nvSpPr>
        <p:spPr>
          <a:xfrm>
            <a:off x="457200" y="1694048"/>
            <a:ext cx="11292840" cy="4313052"/>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3" name="Text Placeholder 3">
            <a:extLst>
              <a:ext uri="{FF2B5EF4-FFF2-40B4-BE49-F238E27FC236}">
                <a16:creationId xmlns:a16="http://schemas.microsoft.com/office/drawing/2014/main" id="{63B2BA8C-F768-1942-9D55-C9C13A2CF2D0}"/>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2054843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ar Two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8E4D345-2197-6D4C-8F0D-3BC6B2AB1F25}"/>
              </a:ext>
            </a:extLst>
          </p:cNvPr>
          <p:cNvSpPr/>
          <p:nvPr/>
        </p:nvSpPr>
        <p:spPr>
          <a:xfrm>
            <a:off x="0" y="0"/>
            <a:ext cx="12192000" cy="1207008"/>
          </a:xfrm>
          <a:prstGeom prst="rect">
            <a:avLst/>
          </a:prstGeom>
          <a:solidFill>
            <a:srgbClr val="E1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3263532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237868D-9B84-AE4F-B833-8E8C7F585207}"/>
              </a:ext>
            </a:extLst>
          </p:cNvPr>
          <p:cNvSpPr>
            <a:spLocks noGrp="1"/>
          </p:cNvSpPr>
          <p:nvPr>
            <p:ph type="title" hasCustomPrompt="1"/>
          </p:nvPr>
        </p:nvSpPr>
        <p:spPr/>
        <p:txBody>
          <a:bodyPr/>
          <a:lstStyle/>
          <a:p>
            <a:r>
              <a:rPr lang="en-US" dirty="0"/>
              <a:t>Click to edit master title style</a:t>
            </a:r>
          </a:p>
        </p:txBody>
      </p:sp>
      <p:sp>
        <p:nvSpPr>
          <p:cNvPr id="9" name="Content Placeholder 5">
            <a:extLst>
              <a:ext uri="{FF2B5EF4-FFF2-40B4-BE49-F238E27FC236}">
                <a16:creationId xmlns:a16="http://schemas.microsoft.com/office/drawing/2014/main" id="{414C1B55-FB49-1B45-80DF-F67865047AC0}"/>
              </a:ext>
            </a:extLst>
          </p:cNvPr>
          <p:cNvSpPr>
            <a:spLocks noGrp="1"/>
          </p:cNvSpPr>
          <p:nvPr>
            <p:ph sz="quarter" idx="11" hasCustomPrompt="1"/>
          </p:nvPr>
        </p:nvSpPr>
        <p:spPr>
          <a:xfrm>
            <a:off x="457199" y="1691640"/>
            <a:ext cx="5529263" cy="4315460"/>
          </a:xfrm>
        </p:spPr>
        <p:txBody>
          <a:bodyPr vert="horz" lIns="0" tIns="0" rIns="18288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1" name="Content Placeholder 5">
            <a:extLst>
              <a:ext uri="{FF2B5EF4-FFF2-40B4-BE49-F238E27FC236}">
                <a16:creationId xmlns:a16="http://schemas.microsoft.com/office/drawing/2014/main" id="{3CE53746-D2D1-A542-9C3B-721279458886}"/>
              </a:ext>
            </a:extLst>
          </p:cNvPr>
          <p:cNvSpPr>
            <a:spLocks noGrp="1"/>
          </p:cNvSpPr>
          <p:nvPr>
            <p:ph sz="quarter" idx="12" hasCustomPrompt="1"/>
          </p:nvPr>
        </p:nvSpPr>
        <p:spPr>
          <a:xfrm>
            <a:off x="6215063" y="1691640"/>
            <a:ext cx="5529263" cy="4315460"/>
          </a:xfrm>
        </p:spPr>
        <p:txBody>
          <a:bodyPr vert="horz" lIns="0" tIns="0" rIns="18288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2" name="Text Placeholder 3">
            <a:extLst>
              <a:ext uri="{FF2B5EF4-FFF2-40B4-BE49-F238E27FC236}">
                <a16:creationId xmlns:a16="http://schemas.microsoft.com/office/drawing/2014/main" id="{6414FEE0-F648-B4AD-281A-6AF5852DE406}"/>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931057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ar Three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1B14E8-876B-374C-8CD3-A164EDD6BA34}"/>
              </a:ext>
            </a:extLst>
          </p:cNvPr>
          <p:cNvSpPr/>
          <p:nvPr/>
        </p:nvSpPr>
        <p:spPr>
          <a:xfrm>
            <a:off x="0" y="0"/>
            <a:ext cx="12192000" cy="1207008"/>
          </a:xfrm>
          <a:prstGeom prst="rect">
            <a:avLst/>
          </a:prstGeom>
          <a:solidFill>
            <a:srgbClr val="E1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3292488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581CAC1E-A9D0-C348-9CA5-ACB7F2A85EDF}"/>
              </a:ext>
            </a:extLst>
          </p:cNvPr>
          <p:cNvSpPr>
            <a:spLocks noGrp="1"/>
          </p:cNvSpPr>
          <p:nvPr>
            <p:ph type="title" hasCustomPrompt="1"/>
          </p:nvPr>
        </p:nvSpPr>
        <p:spPr/>
        <p:txBody>
          <a:bodyPr/>
          <a:lstStyle/>
          <a:p>
            <a:r>
              <a:rPr lang="en-US" dirty="0"/>
              <a:t>Click to edit master title style</a:t>
            </a:r>
          </a:p>
        </p:txBody>
      </p:sp>
      <p:sp>
        <p:nvSpPr>
          <p:cNvPr id="12" name="Content Placeholder 5">
            <a:extLst>
              <a:ext uri="{FF2B5EF4-FFF2-40B4-BE49-F238E27FC236}">
                <a16:creationId xmlns:a16="http://schemas.microsoft.com/office/drawing/2014/main" id="{C1C43114-B0E1-2846-9078-B6D57EAF7066}"/>
              </a:ext>
            </a:extLst>
          </p:cNvPr>
          <p:cNvSpPr>
            <a:spLocks noGrp="1"/>
          </p:cNvSpPr>
          <p:nvPr>
            <p:ph sz="quarter" idx="11" hasCustomPrompt="1"/>
          </p:nvPr>
        </p:nvSpPr>
        <p:spPr>
          <a:xfrm>
            <a:off x="457200" y="1691640"/>
            <a:ext cx="3609976" cy="4315460"/>
          </a:xfrm>
        </p:spPr>
        <p:txBody>
          <a:bodyPr vert="horz" lIns="0" tIns="0" rIns="18288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3" name="Content Placeholder 5">
            <a:extLst>
              <a:ext uri="{FF2B5EF4-FFF2-40B4-BE49-F238E27FC236}">
                <a16:creationId xmlns:a16="http://schemas.microsoft.com/office/drawing/2014/main" id="{021BE228-66AE-6843-8E02-F38AB2654096}"/>
              </a:ext>
            </a:extLst>
          </p:cNvPr>
          <p:cNvSpPr>
            <a:spLocks noGrp="1"/>
          </p:cNvSpPr>
          <p:nvPr>
            <p:ph sz="quarter" idx="13" hasCustomPrompt="1"/>
          </p:nvPr>
        </p:nvSpPr>
        <p:spPr>
          <a:xfrm>
            <a:off x="4295273" y="1691640"/>
            <a:ext cx="3609976" cy="4315460"/>
          </a:xfrm>
        </p:spPr>
        <p:txBody>
          <a:bodyPr vert="horz" lIns="0" tIns="0" rIns="18288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4" name="Content Placeholder 5">
            <a:extLst>
              <a:ext uri="{FF2B5EF4-FFF2-40B4-BE49-F238E27FC236}">
                <a16:creationId xmlns:a16="http://schemas.microsoft.com/office/drawing/2014/main" id="{9AB33A90-9E8D-1947-98FD-768EFEB80DE8}"/>
              </a:ext>
            </a:extLst>
          </p:cNvPr>
          <p:cNvSpPr>
            <a:spLocks noGrp="1"/>
          </p:cNvSpPr>
          <p:nvPr>
            <p:ph sz="quarter" idx="14" hasCustomPrompt="1"/>
          </p:nvPr>
        </p:nvSpPr>
        <p:spPr>
          <a:xfrm>
            <a:off x="8133346" y="1691640"/>
            <a:ext cx="3598406" cy="4315460"/>
          </a:xfrm>
        </p:spPr>
        <p:txBody>
          <a:bodyPr vert="horz" lIns="0" tIns="0" rIns="18288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2" name="Text Placeholder 3">
            <a:extLst>
              <a:ext uri="{FF2B5EF4-FFF2-40B4-BE49-F238E27FC236}">
                <a16:creationId xmlns:a16="http://schemas.microsoft.com/office/drawing/2014/main" id="{E5D3B96A-BDBE-D9F1-E2C0-AD6CFDC6D545}"/>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79311774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ar Four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5CB2052-3245-174F-AC3A-24DE254967CC}"/>
              </a:ext>
            </a:extLst>
          </p:cNvPr>
          <p:cNvSpPr/>
          <p:nvPr/>
        </p:nvSpPr>
        <p:spPr>
          <a:xfrm>
            <a:off x="0" y="0"/>
            <a:ext cx="12192000" cy="1207008"/>
          </a:xfrm>
          <a:prstGeom prst="rect">
            <a:avLst/>
          </a:prstGeom>
          <a:solidFill>
            <a:srgbClr val="E1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7802702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E4186CE-9B9E-5841-BFD2-4B0A423A8DC0}"/>
              </a:ext>
            </a:extLst>
          </p:cNvPr>
          <p:cNvSpPr>
            <a:spLocks noGrp="1"/>
          </p:cNvSpPr>
          <p:nvPr>
            <p:ph type="title" hasCustomPrompt="1"/>
          </p:nvPr>
        </p:nvSpPr>
        <p:spPr/>
        <p:txBody>
          <a:bodyPr/>
          <a:lstStyle/>
          <a:p>
            <a:r>
              <a:rPr lang="en-US" dirty="0"/>
              <a:t>Click to edit master title style</a:t>
            </a:r>
          </a:p>
        </p:txBody>
      </p:sp>
      <p:sp>
        <p:nvSpPr>
          <p:cNvPr id="12" name="Content Placeholder 3">
            <a:extLst>
              <a:ext uri="{FF2B5EF4-FFF2-40B4-BE49-F238E27FC236}">
                <a16:creationId xmlns:a16="http://schemas.microsoft.com/office/drawing/2014/main" id="{CEE01E8D-84E1-AD12-A782-E87DA9984AC7}"/>
              </a:ext>
            </a:extLst>
          </p:cNvPr>
          <p:cNvSpPr>
            <a:spLocks noGrp="1"/>
          </p:cNvSpPr>
          <p:nvPr>
            <p:ph sz="quarter" idx="21"/>
          </p:nvPr>
        </p:nvSpPr>
        <p:spPr>
          <a:xfrm>
            <a:off x="475443" y="1691641"/>
            <a:ext cx="264082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vl6pPr>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3">
            <a:extLst>
              <a:ext uri="{FF2B5EF4-FFF2-40B4-BE49-F238E27FC236}">
                <a16:creationId xmlns:a16="http://schemas.microsoft.com/office/drawing/2014/main" id="{40A5DD05-C4B6-9843-A62D-C443760176FF}"/>
              </a:ext>
            </a:extLst>
          </p:cNvPr>
          <p:cNvSpPr>
            <a:spLocks noGrp="1"/>
          </p:cNvSpPr>
          <p:nvPr>
            <p:ph sz="quarter" idx="22"/>
          </p:nvPr>
        </p:nvSpPr>
        <p:spPr>
          <a:xfrm>
            <a:off x="3348289" y="1691641"/>
            <a:ext cx="264082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vl6pPr>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3">
            <a:extLst>
              <a:ext uri="{FF2B5EF4-FFF2-40B4-BE49-F238E27FC236}">
                <a16:creationId xmlns:a16="http://schemas.microsoft.com/office/drawing/2014/main" id="{F93CE002-5F00-5D51-39E4-CDE4D7B5FA5E}"/>
              </a:ext>
            </a:extLst>
          </p:cNvPr>
          <p:cNvSpPr>
            <a:spLocks noGrp="1"/>
          </p:cNvSpPr>
          <p:nvPr>
            <p:ph sz="quarter" idx="23"/>
          </p:nvPr>
        </p:nvSpPr>
        <p:spPr>
          <a:xfrm>
            <a:off x="6221135" y="1691641"/>
            <a:ext cx="264082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vl6pPr>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3">
            <a:extLst>
              <a:ext uri="{FF2B5EF4-FFF2-40B4-BE49-F238E27FC236}">
                <a16:creationId xmlns:a16="http://schemas.microsoft.com/office/drawing/2014/main" id="{545A1531-CBA7-6DF4-28FE-E74AA1D63197}"/>
              </a:ext>
            </a:extLst>
          </p:cNvPr>
          <p:cNvSpPr>
            <a:spLocks noGrp="1"/>
          </p:cNvSpPr>
          <p:nvPr>
            <p:ph sz="quarter" idx="24"/>
          </p:nvPr>
        </p:nvSpPr>
        <p:spPr>
          <a:xfrm>
            <a:off x="9093980" y="1691641"/>
            <a:ext cx="264082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vl6pPr>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ext Placeholder 3">
            <a:extLst>
              <a:ext uri="{FF2B5EF4-FFF2-40B4-BE49-F238E27FC236}">
                <a16:creationId xmlns:a16="http://schemas.microsoft.com/office/drawing/2014/main" id="{682B0F9C-F359-AEAB-FF55-507B53BBD445}"/>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88195571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3718518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8000">
                <a:solidFill>
                  <a:srgbClr val="5009B5"/>
                </a:solidFill>
                <a:latin typeface="+mj-lt"/>
              </a:defRPr>
            </a:lvl1pPr>
          </a:lstStyle>
          <a:p>
            <a:pPr lvl="0"/>
            <a:r>
              <a:rPr lang="en-US" dirty="0"/>
              <a:t>Thank you!</a:t>
            </a:r>
          </a:p>
        </p:txBody>
      </p:sp>
    </p:spTree>
    <p:extLst>
      <p:ext uri="{BB962C8B-B14F-4D97-AF65-F5344CB8AC3E}">
        <p14:creationId xmlns:p14="http://schemas.microsoft.com/office/powerpoint/2010/main" val="107493131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hank you Purple">
    <p:bg>
      <p:bgPr>
        <a:solidFill>
          <a:srgbClr val="5009B5"/>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23738677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8000">
                <a:solidFill>
                  <a:schemeClr val="bg1"/>
                </a:solidFill>
                <a:latin typeface="+mj-lt"/>
              </a:defRPr>
            </a:lvl1pPr>
          </a:lstStyle>
          <a:p>
            <a:pPr lvl="0"/>
            <a:r>
              <a:rPr lang="en-US" dirty="0"/>
              <a:t>Thank you!</a:t>
            </a:r>
          </a:p>
        </p:txBody>
      </p:sp>
      <p:pic>
        <p:nvPicPr>
          <p:cNvPr id="9" name="Graphic 8">
            <a:extLst>
              <a:ext uri="{FF2B5EF4-FFF2-40B4-BE49-F238E27FC236}">
                <a16:creationId xmlns:a16="http://schemas.microsoft.com/office/drawing/2014/main" id="{A2275E4F-1DD8-BD4C-839F-E0B290CCE1F7}"/>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199" y="6181343"/>
            <a:ext cx="365760" cy="365760"/>
          </a:xfrm>
          <a:prstGeom prst="rect">
            <a:avLst/>
          </a:prstGeom>
        </p:spPr>
      </p:pic>
      <p:sp>
        <p:nvSpPr>
          <p:cNvPr id="11" name="TextBox 10">
            <a:extLst>
              <a:ext uri="{FF2B5EF4-FFF2-40B4-BE49-F238E27FC236}">
                <a16:creationId xmlns:a16="http://schemas.microsoft.com/office/drawing/2014/main" id="{9FA824AD-9AF3-884E-A622-DF0B54F24716}"/>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Tree>
    <p:extLst>
      <p:ext uri="{BB962C8B-B14F-4D97-AF65-F5344CB8AC3E}">
        <p14:creationId xmlns:p14="http://schemas.microsoft.com/office/powerpoint/2010/main" val="19871279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Purple Linear Supergraphic">
    <p:bg>
      <p:bgPr>
        <a:solidFill>
          <a:srgbClr val="5009B5"/>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4240814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Arc 6">
            <a:extLst>
              <a:ext uri="{FF2B5EF4-FFF2-40B4-BE49-F238E27FC236}">
                <a16:creationId xmlns:a16="http://schemas.microsoft.com/office/drawing/2014/main" id="{620EC642-4CC9-DC4D-BE90-46572834EF99}"/>
              </a:ext>
            </a:extLst>
          </p:cNvPr>
          <p:cNvSpPr/>
          <p:nvPr/>
        </p:nvSpPr>
        <p:spPr>
          <a:xfrm rot="10800000">
            <a:off x="7700406" y="-5517141"/>
            <a:ext cx="8983187" cy="8983187"/>
          </a:xfrm>
          <a:prstGeom prst="arc">
            <a:avLst>
              <a:gd name="adj1" fmla="val 16200000"/>
              <a:gd name="adj2" fmla="val 20840015"/>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cxnSp>
        <p:nvCxnSpPr>
          <p:cNvPr id="8" name="Straight Connector 7">
            <a:extLst>
              <a:ext uri="{FF2B5EF4-FFF2-40B4-BE49-F238E27FC236}">
                <a16:creationId xmlns:a16="http://schemas.microsoft.com/office/drawing/2014/main" id="{FA9F3445-6864-B14F-A29E-23391F292240}"/>
              </a:ext>
            </a:extLst>
          </p:cNvPr>
          <p:cNvCxnSpPr>
            <a:cxnSpLocks/>
          </p:cNvCxnSpPr>
          <p:nvPr/>
        </p:nvCxnSpPr>
        <p:spPr>
          <a:xfrm>
            <a:off x="0" y="3466047"/>
            <a:ext cx="12192000" cy="0"/>
          </a:xfrm>
          <a:prstGeom prst="line">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cxnSp>
      <p:sp>
        <p:nvSpPr>
          <p:cNvPr id="10" name="Arc 9">
            <a:extLst>
              <a:ext uri="{FF2B5EF4-FFF2-40B4-BE49-F238E27FC236}">
                <a16:creationId xmlns:a16="http://schemas.microsoft.com/office/drawing/2014/main" id="{0635C588-6C55-2E43-BC88-265490E0DB15}"/>
              </a:ext>
            </a:extLst>
          </p:cNvPr>
          <p:cNvSpPr/>
          <p:nvPr/>
        </p:nvSpPr>
        <p:spPr>
          <a:xfrm rot="16200000">
            <a:off x="7700406" y="3466048"/>
            <a:ext cx="8983187" cy="8983187"/>
          </a:xfrm>
          <a:prstGeom prst="arc">
            <a:avLst>
              <a:gd name="adj1" fmla="val 17017882"/>
              <a:gd name="adj2" fmla="val 0"/>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pic>
        <p:nvPicPr>
          <p:cNvPr id="15" name="Graphic 14">
            <a:extLst>
              <a:ext uri="{FF2B5EF4-FFF2-40B4-BE49-F238E27FC236}">
                <a16:creationId xmlns:a16="http://schemas.microsoft.com/office/drawing/2014/main" id="{38087043-B1C0-F448-917B-5850AF562630}"/>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15088" y="578424"/>
            <a:ext cx="1785575" cy="384339"/>
          </a:xfrm>
          <a:prstGeom prst="rect">
            <a:avLst/>
          </a:prstGeom>
        </p:spPr>
      </p:pic>
      <p:sp>
        <p:nvSpPr>
          <p:cNvPr id="17" name="Title 1">
            <a:extLst>
              <a:ext uri="{FF2B5EF4-FFF2-40B4-BE49-F238E27FC236}">
                <a16:creationId xmlns:a16="http://schemas.microsoft.com/office/drawing/2014/main" id="{589C51D4-69ED-7B4E-A17D-1AE8A998B922}"/>
              </a:ext>
            </a:extLst>
          </p:cNvPr>
          <p:cNvSpPr>
            <a:spLocks noGrp="1"/>
          </p:cNvSpPr>
          <p:nvPr>
            <p:ph type="ctrTitle" hasCustomPrompt="1"/>
          </p:nvPr>
        </p:nvSpPr>
        <p:spPr>
          <a:xfrm>
            <a:off x="457198" y="3759716"/>
            <a:ext cx="9366251" cy="622714"/>
          </a:xfrm>
        </p:spPr>
        <p:txBody>
          <a:bodyPr vert="horz" anchor="t"/>
          <a:lstStyle>
            <a:lvl1pPr algn="l">
              <a:defRPr sz="5000">
                <a:solidFill>
                  <a:schemeClr val="bg1"/>
                </a:solidFill>
              </a:defRPr>
            </a:lvl1pPr>
          </a:lstStyle>
          <a:p>
            <a:r>
              <a:rPr lang="en-US" dirty="0"/>
              <a:t>Click to add presentation title</a:t>
            </a:r>
          </a:p>
        </p:txBody>
      </p:sp>
      <p:sp>
        <p:nvSpPr>
          <p:cNvPr id="18" name="Subtitle 2">
            <a:extLst>
              <a:ext uri="{FF2B5EF4-FFF2-40B4-BE49-F238E27FC236}">
                <a16:creationId xmlns:a16="http://schemas.microsoft.com/office/drawing/2014/main" id="{302C2242-2804-EE44-ADAF-48FD023883FC}"/>
              </a:ext>
            </a:extLst>
          </p:cNvPr>
          <p:cNvSpPr>
            <a:spLocks noGrp="1"/>
          </p:cNvSpPr>
          <p:nvPr>
            <p:ph type="subTitle" idx="1" hasCustomPrompt="1"/>
          </p:nvPr>
        </p:nvSpPr>
        <p:spPr>
          <a:xfrm>
            <a:off x="457198" y="5382895"/>
            <a:ext cx="5650832" cy="228600"/>
          </a:xfrm>
          <a:prstGeom prst="rect">
            <a:avLst/>
          </a:prstGeom>
        </p:spPr>
        <p:txBody>
          <a:bodyPr/>
          <a:lstStyle>
            <a:lvl1pPr marL="0" indent="0" algn="l">
              <a:buNone/>
              <a:defRPr sz="1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9" name="Text Placeholder 11">
            <a:extLst>
              <a:ext uri="{FF2B5EF4-FFF2-40B4-BE49-F238E27FC236}">
                <a16:creationId xmlns:a16="http://schemas.microsoft.com/office/drawing/2014/main" id="{2B2F6DB0-6DE3-A540-B328-7DCA1A7E7232}"/>
              </a:ext>
            </a:extLst>
          </p:cNvPr>
          <p:cNvSpPr>
            <a:spLocks noGrp="1"/>
          </p:cNvSpPr>
          <p:nvPr>
            <p:ph type="body" sz="quarter" idx="11" hasCustomPrompt="1"/>
          </p:nvPr>
        </p:nvSpPr>
        <p:spPr>
          <a:xfrm>
            <a:off x="457198" y="5611495"/>
            <a:ext cx="5638800" cy="224536"/>
          </a:xfrm>
          <a:prstGeom prst="rect">
            <a:avLst/>
          </a:prstGeom>
        </p:spPr>
        <p:txBody>
          <a:bodyPr/>
          <a:lstStyle>
            <a:lvl1pPr marL="0" indent="0">
              <a:lnSpc>
                <a:spcPct val="100000"/>
              </a:lnSpc>
              <a:buNone/>
              <a:defRPr sz="1800" b="0" i="0">
                <a:solidFill>
                  <a:schemeClr val="bg1"/>
                </a:solidFill>
                <a:latin typeface="Elevance Sans" pitchFamily="2" charset="77"/>
              </a:defRPr>
            </a:lvl1pPr>
          </a:lstStyle>
          <a:p>
            <a:pPr lvl="0"/>
            <a:r>
              <a:rPr lang="en-US" dirty="0"/>
              <a:t>Click to add date</a:t>
            </a:r>
          </a:p>
        </p:txBody>
      </p:sp>
      <p:pic>
        <p:nvPicPr>
          <p:cNvPr id="13" name="Graphic 12">
            <a:extLst>
              <a:ext uri="{FF2B5EF4-FFF2-40B4-BE49-F238E27FC236}">
                <a16:creationId xmlns:a16="http://schemas.microsoft.com/office/drawing/2014/main" id="{37157042-8210-A28A-FF88-F7A53B439EAB}"/>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93341" y="578424"/>
            <a:ext cx="1785575" cy="384339"/>
          </a:xfrm>
          <a:prstGeom prst="rect">
            <a:avLst/>
          </a:prstGeom>
        </p:spPr>
      </p:pic>
    </p:spTree>
    <p:extLst>
      <p:ext uri="{BB962C8B-B14F-4D97-AF65-F5344CB8AC3E}">
        <p14:creationId xmlns:p14="http://schemas.microsoft.com/office/powerpoint/2010/main" val="609633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291589-CD70-D544-A42B-7CBFCA4D12B5}"/>
              </a:ext>
            </a:extLst>
          </p:cNvPr>
          <p:cNvGraphicFramePr>
            <a:graphicFrameLocks noChangeAspect="1"/>
          </p:cNvGraphicFramePr>
          <p:nvPr>
            <p:custDataLst>
              <p:tags r:id="rId1"/>
            </p:custDataLst>
            <p:extLst>
              <p:ext uri="{D42A27DB-BD31-4B8C-83A1-F6EECF244321}">
                <p14:modId xmlns:p14="http://schemas.microsoft.com/office/powerpoint/2010/main" val="14695310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84291589-CD70-D544-A42B-7CBFCA4D12B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4" name="Graphic 3">
            <a:extLst>
              <a:ext uri="{FF2B5EF4-FFF2-40B4-BE49-F238E27FC236}">
                <a16:creationId xmlns:a16="http://schemas.microsoft.com/office/drawing/2014/main" id="{46B48EC6-05B8-2A40-BD24-08137FEB8B55}"/>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858626" y="3162659"/>
            <a:ext cx="2474748" cy="532681"/>
          </a:xfrm>
          <a:prstGeom prst="rect">
            <a:avLst/>
          </a:prstGeom>
        </p:spPr>
      </p:pic>
    </p:spTree>
    <p:extLst>
      <p:ext uri="{BB962C8B-B14F-4D97-AF65-F5344CB8AC3E}">
        <p14:creationId xmlns:p14="http://schemas.microsoft.com/office/powerpoint/2010/main" val="35232315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 Slide Full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21101585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975EBB8B-1207-DF46-B0BB-2ECF56904B51}"/>
              </a:ext>
            </a:extLst>
          </p:cNvPr>
          <p:cNvSpPr>
            <a:spLocks noGrp="1"/>
          </p:cNvSpPr>
          <p:nvPr>
            <p:ph type="pic" sz="quarter" idx="10"/>
          </p:nvPr>
        </p:nvSpPr>
        <p:spPr>
          <a:xfrm>
            <a:off x="0" y="0"/>
            <a:ext cx="12192000" cy="6858000"/>
          </a:xfrm>
          <a:prstGeom prst="rect">
            <a:avLst/>
          </a:prstGeom>
          <a:solidFill>
            <a:schemeClr val="bg1">
              <a:lumMod val="95000"/>
            </a:schemeClr>
          </a:solidFill>
        </p:spPr>
        <p:txBody>
          <a:bodyPr/>
          <a:lstStyle>
            <a:lvl1pPr marL="0" indent="0">
              <a:buNone/>
              <a:defRPr sz="1200"/>
            </a:lvl1pPr>
          </a:lstStyle>
          <a:p>
            <a:r>
              <a:rPr lang="en-US"/>
              <a:t>Click icon to add picture</a:t>
            </a:r>
            <a:endParaRPr lang="en-US" dirty="0"/>
          </a:p>
        </p:txBody>
      </p:sp>
      <p:sp>
        <p:nvSpPr>
          <p:cNvPr id="11" name="Text Placeholder 10">
            <a:extLst>
              <a:ext uri="{FF2B5EF4-FFF2-40B4-BE49-F238E27FC236}">
                <a16:creationId xmlns:a16="http://schemas.microsoft.com/office/drawing/2014/main" id="{A594C2A4-538B-4E49-80F8-EE4DD8A3842A}"/>
              </a:ext>
            </a:extLst>
          </p:cNvPr>
          <p:cNvSpPr>
            <a:spLocks noGrp="1"/>
          </p:cNvSpPr>
          <p:nvPr>
            <p:ph type="body" sz="quarter" idx="13"/>
          </p:nvPr>
        </p:nvSpPr>
        <p:spPr>
          <a:xfrm>
            <a:off x="0" y="0"/>
            <a:ext cx="12192000" cy="6858000"/>
          </a:xfrm>
          <a:gradFill>
            <a:gsLst>
              <a:gs pos="0">
                <a:srgbClr val="000000">
                  <a:alpha val="34000"/>
                </a:srgbClr>
              </a:gs>
              <a:gs pos="71000">
                <a:srgbClr val="000000">
                  <a:alpha val="0"/>
                </a:srgbClr>
              </a:gs>
            </a:gsLst>
            <a:lin ang="0" scaled="0"/>
          </a:gradFill>
        </p:spPr>
        <p:txBody>
          <a:bodyPr/>
          <a:lstStyle>
            <a:lvl1pPr>
              <a:defRPr sz="100">
                <a:solidFill>
                  <a:schemeClr val="bg1">
                    <a:alpha val="0"/>
                  </a:schemeClr>
                </a:solidFill>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410307" y="4517136"/>
            <a:ext cx="5650832" cy="228600"/>
          </a:xfrm>
          <a:prstGeom prst="rect">
            <a:avLst/>
          </a:prstGeom>
        </p:spPr>
        <p:txBody>
          <a:bodyPr/>
          <a:lstStyle>
            <a:lvl1pPr marL="0" indent="0" algn="l">
              <a:buNone/>
              <a:defRPr sz="1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7" name="Text Placeholder 11">
            <a:extLst>
              <a:ext uri="{FF2B5EF4-FFF2-40B4-BE49-F238E27FC236}">
                <a16:creationId xmlns:a16="http://schemas.microsoft.com/office/drawing/2014/main" id="{888294A5-A4D0-A14B-A725-86332813F126}"/>
              </a:ext>
            </a:extLst>
          </p:cNvPr>
          <p:cNvSpPr>
            <a:spLocks noGrp="1"/>
          </p:cNvSpPr>
          <p:nvPr>
            <p:ph type="body" sz="quarter" idx="11" hasCustomPrompt="1"/>
          </p:nvPr>
        </p:nvSpPr>
        <p:spPr>
          <a:xfrm>
            <a:off x="410307" y="4758997"/>
            <a:ext cx="5638800" cy="224536"/>
          </a:xfrm>
          <a:prstGeom prst="rect">
            <a:avLst/>
          </a:prstGeom>
        </p:spPr>
        <p:txBody>
          <a:bodyPr/>
          <a:lstStyle>
            <a:lvl1pPr marL="0" indent="0">
              <a:lnSpc>
                <a:spcPct val="100000"/>
              </a:lnSpc>
              <a:buNone/>
              <a:defRPr sz="1800" b="0" i="0">
                <a:solidFill>
                  <a:schemeClr val="bg1"/>
                </a:solidFill>
                <a:latin typeface="Elevance Sans" pitchFamily="2" charset="77"/>
              </a:defRPr>
            </a:lvl1pPr>
          </a:lstStyle>
          <a:p>
            <a:pPr lvl="0"/>
            <a:r>
              <a:rPr lang="en-US" dirty="0"/>
              <a:t>Click to add date</a:t>
            </a:r>
          </a:p>
        </p:txBody>
      </p:sp>
      <p:sp>
        <p:nvSpPr>
          <p:cNvPr id="10" name="Title 1">
            <a:extLst>
              <a:ext uri="{FF2B5EF4-FFF2-40B4-BE49-F238E27FC236}">
                <a16:creationId xmlns:a16="http://schemas.microsoft.com/office/drawing/2014/main" id="{5CEDBC19-C442-234E-A082-5522435460F1}"/>
              </a:ext>
            </a:extLst>
          </p:cNvPr>
          <p:cNvSpPr>
            <a:spLocks noGrp="1"/>
          </p:cNvSpPr>
          <p:nvPr>
            <p:ph type="ctrTitle" hasCustomPrompt="1"/>
          </p:nvPr>
        </p:nvSpPr>
        <p:spPr>
          <a:xfrm>
            <a:off x="410307" y="2587226"/>
            <a:ext cx="8354282" cy="1572610"/>
          </a:xfrm>
        </p:spPr>
        <p:txBody>
          <a:bodyPr vert="horz" anchor="b" anchorCtr="0"/>
          <a:lstStyle>
            <a:lvl1pPr algn="l">
              <a:defRPr sz="5200">
                <a:solidFill>
                  <a:schemeClr val="bg1"/>
                </a:solidFill>
              </a:defRPr>
            </a:lvl1pPr>
          </a:lstStyle>
          <a:p>
            <a:r>
              <a:rPr lang="en-US" dirty="0"/>
              <a:t>Click to add </a:t>
            </a:r>
            <a:br>
              <a:rPr lang="en-US" dirty="0"/>
            </a:br>
            <a:r>
              <a:rPr lang="en-US" dirty="0"/>
              <a:t>presentation title</a:t>
            </a:r>
          </a:p>
        </p:txBody>
      </p:sp>
      <p:sp>
        <p:nvSpPr>
          <p:cNvPr id="9" name="Text Placeholder 8">
            <a:extLst>
              <a:ext uri="{FF2B5EF4-FFF2-40B4-BE49-F238E27FC236}">
                <a16:creationId xmlns:a16="http://schemas.microsoft.com/office/drawing/2014/main" id="{932CDF93-DAF8-4DC2-6B85-64C5B49A0D23}"/>
              </a:ext>
            </a:extLst>
          </p:cNvPr>
          <p:cNvSpPr>
            <a:spLocks noGrp="1"/>
          </p:cNvSpPr>
          <p:nvPr>
            <p:ph type="body" sz="quarter" idx="14"/>
          </p:nvPr>
        </p:nvSpPr>
        <p:spPr>
          <a:xfrm>
            <a:off x="10000228" y="578183"/>
            <a:ext cx="1778688" cy="383935"/>
          </a:xfrm>
          <a:custGeom>
            <a:avLst/>
            <a:gdLst>
              <a:gd name="connsiteX0" fmla="*/ 1758931 w 1778688"/>
              <a:gd name="connsiteY0" fmla="*/ 270064 h 383935"/>
              <a:gd name="connsiteX1" fmla="*/ 1765112 w 1778688"/>
              <a:gd name="connsiteY1" fmla="*/ 270064 h 383935"/>
              <a:gd name="connsiteX2" fmla="*/ 1768824 w 1778688"/>
              <a:gd name="connsiteY2" fmla="*/ 284017 h 383935"/>
              <a:gd name="connsiteX3" fmla="*/ 1772493 w 1778688"/>
              <a:gd name="connsiteY3" fmla="*/ 270064 h 383935"/>
              <a:gd name="connsiteX4" fmla="*/ 1778688 w 1778688"/>
              <a:gd name="connsiteY4" fmla="*/ 270064 h 383935"/>
              <a:gd name="connsiteX5" fmla="*/ 1778688 w 1778688"/>
              <a:gd name="connsiteY5" fmla="*/ 290519 h 383935"/>
              <a:gd name="connsiteX6" fmla="*/ 1774851 w 1778688"/>
              <a:gd name="connsiteY6" fmla="*/ 290519 h 383935"/>
              <a:gd name="connsiteX7" fmla="*/ 1774851 w 1778688"/>
              <a:gd name="connsiteY7" fmla="*/ 274418 h 383935"/>
              <a:gd name="connsiteX8" fmla="*/ 1770791 w 1778688"/>
              <a:gd name="connsiteY8" fmla="*/ 290519 h 383935"/>
              <a:gd name="connsiteX9" fmla="*/ 1766815 w 1778688"/>
              <a:gd name="connsiteY9" fmla="*/ 290519 h 383935"/>
              <a:gd name="connsiteX10" fmla="*/ 1762768 w 1778688"/>
              <a:gd name="connsiteY10" fmla="*/ 274418 h 383935"/>
              <a:gd name="connsiteX11" fmla="*/ 1762768 w 1778688"/>
              <a:gd name="connsiteY11" fmla="*/ 290519 h 383935"/>
              <a:gd name="connsiteX12" fmla="*/ 1758931 w 1778688"/>
              <a:gd name="connsiteY12" fmla="*/ 290519 h 383935"/>
              <a:gd name="connsiteX13" fmla="*/ 1747095 w 1778688"/>
              <a:gd name="connsiteY13" fmla="*/ 269716 h 383935"/>
              <a:gd name="connsiteX14" fmla="*/ 1752892 w 1778688"/>
              <a:gd name="connsiteY14" fmla="*/ 271404 h 383935"/>
              <a:gd name="connsiteX15" fmla="*/ 1754936 w 1778688"/>
              <a:gd name="connsiteY15" fmla="*/ 275911 h 383935"/>
              <a:gd name="connsiteX16" fmla="*/ 1750806 w 1778688"/>
              <a:gd name="connsiteY16" fmla="*/ 276092 h 383935"/>
              <a:gd name="connsiteX17" fmla="*/ 1749669 w 1778688"/>
              <a:gd name="connsiteY17" fmla="*/ 273825 h 383935"/>
              <a:gd name="connsiteX18" fmla="*/ 1747053 w 1778688"/>
              <a:gd name="connsiteY18" fmla="*/ 273134 h 383935"/>
              <a:gd name="connsiteX19" fmla="*/ 1744234 w 1778688"/>
              <a:gd name="connsiteY19" fmla="*/ 273874 h 383935"/>
              <a:gd name="connsiteX20" fmla="*/ 1743579 w 1778688"/>
              <a:gd name="connsiteY20" fmla="*/ 275143 h 383935"/>
              <a:gd name="connsiteX21" fmla="*/ 1744193 w 1778688"/>
              <a:gd name="connsiteY21" fmla="*/ 276385 h 383935"/>
              <a:gd name="connsiteX22" fmla="*/ 1747988 w 1778688"/>
              <a:gd name="connsiteY22" fmla="*/ 277752 h 383935"/>
              <a:gd name="connsiteX23" fmla="*/ 1752446 w 1778688"/>
              <a:gd name="connsiteY23" fmla="*/ 279224 h 383935"/>
              <a:gd name="connsiteX24" fmla="*/ 1754706 w 1778688"/>
              <a:gd name="connsiteY24" fmla="*/ 281303 h 383935"/>
              <a:gd name="connsiteX25" fmla="*/ 1755522 w 1778688"/>
              <a:gd name="connsiteY25" fmla="*/ 284561 h 383935"/>
              <a:gd name="connsiteX26" fmla="*/ 1754545 w 1778688"/>
              <a:gd name="connsiteY26" fmla="*/ 287854 h 383935"/>
              <a:gd name="connsiteX27" fmla="*/ 1751783 w 1778688"/>
              <a:gd name="connsiteY27" fmla="*/ 290135 h 383935"/>
              <a:gd name="connsiteX28" fmla="*/ 1747332 w 1778688"/>
              <a:gd name="connsiteY28" fmla="*/ 290882 h 383935"/>
              <a:gd name="connsiteX29" fmla="*/ 1741374 w 1778688"/>
              <a:gd name="connsiteY29" fmla="*/ 289089 h 383935"/>
              <a:gd name="connsiteX30" fmla="*/ 1738891 w 1778688"/>
              <a:gd name="connsiteY30" fmla="*/ 283864 h 383935"/>
              <a:gd name="connsiteX31" fmla="*/ 1742909 w 1778688"/>
              <a:gd name="connsiteY31" fmla="*/ 283473 h 383935"/>
              <a:gd name="connsiteX32" fmla="*/ 1744381 w 1778688"/>
              <a:gd name="connsiteY32" fmla="*/ 286445 h 383935"/>
              <a:gd name="connsiteX33" fmla="*/ 1747374 w 1778688"/>
              <a:gd name="connsiteY33" fmla="*/ 287394 h 383935"/>
              <a:gd name="connsiteX34" fmla="*/ 1750381 w 1778688"/>
              <a:gd name="connsiteY34" fmla="*/ 286550 h 383935"/>
              <a:gd name="connsiteX35" fmla="*/ 1751392 w 1778688"/>
              <a:gd name="connsiteY35" fmla="*/ 284575 h 383935"/>
              <a:gd name="connsiteX36" fmla="*/ 1750967 w 1778688"/>
              <a:gd name="connsiteY36" fmla="*/ 283340 h 383935"/>
              <a:gd name="connsiteX37" fmla="*/ 1749481 w 1778688"/>
              <a:gd name="connsiteY37" fmla="*/ 282454 h 383935"/>
              <a:gd name="connsiteX38" fmla="*/ 1746174 w 1778688"/>
              <a:gd name="connsiteY38" fmla="*/ 281561 h 383935"/>
              <a:gd name="connsiteX39" fmla="*/ 1741514 w 1778688"/>
              <a:gd name="connsiteY39" fmla="*/ 279538 h 383935"/>
              <a:gd name="connsiteX40" fmla="*/ 1739630 w 1778688"/>
              <a:gd name="connsiteY40" fmla="*/ 275422 h 383935"/>
              <a:gd name="connsiteX41" fmla="*/ 1740516 w 1778688"/>
              <a:gd name="connsiteY41" fmla="*/ 272499 h 383935"/>
              <a:gd name="connsiteX42" fmla="*/ 1743069 w 1778688"/>
              <a:gd name="connsiteY42" fmla="*/ 270427 h 383935"/>
              <a:gd name="connsiteX43" fmla="*/ 1747095 w 1778688"/>
              <a:gd name="connsiteY43" fmla="*/ 269716 h 383935"/>
              <a:gd name="connsiteX44" fmla="*/ 1415465 w 1778688"/>
              <a:gd name="connsiteY44" fmla="*/ 138005 h 383935"/>
              <a:gd name="connsiteX45" fmla="*/ 1361597 w 1778688"/>
              <a:gd name="connsiteY45" fmla="*/ 195655 h 383935"/>
              <a:gd name="connsiteX46" fmla="*/ 1415465 w 1778688"/>
              <a:gd name="connsiteY46" fmla="*/ 253724 h 383935"/>
              <a:gd name="connsiteX47" fmla="*/ 1468492 w 1778688"/>
              <a:gd name="connsiteY47" fmla="*/ 195655 h 383935"/>
              <a:gd name="connsiteX48" fmla="*/ 1415465 w 1778688"/>
              <a:gd name="connsiteY48" fmla="*/ 138005 h 383935"/>
              <a:gd name="connsiteX49" fmla="*/ 743459 w 1778688"/>
              <a:gd name="connsiteY49" fmla="*/ 138005 h 383935"/>
              <a:gd name="connsiteX50" fmla="*/ 689592 w 1778688"/>
              <a:gd name="connsiteY50" fmla="*/ 195655 h 383935"/>
              <a:gd name="connsiteX51" fmla="*/ 743459 w 1778688"/>
              <a:gd name="connsiteY51" fmla="*/ 253724 h 383935"/>
              <a:gd name="connsiteX52" fmla="*/ 796486 w 1778688"/>
              <a:gd name="connsiteY52" fmla="*/ 195655 h 383935"/>
              <a:gd name="connsiteX53" fmla="*/ 743459 w 1778688"/>
              <a:gd name="connsiteY53" fmla="*/ 138005 h 383935"/>
              <a:gd name="connsiteX54" fmla="*/ 262734 w 1778688"/>
              <a:gd name="connsiteY54" fmla="*/ 137498 h 383935"/>
              <a:gd name="connsiteX55" fmla="*/ 274738 w 1778688"/>
              <a:gd name="connsiteY55" fmla="*/ 143636 h 383935"/>
              <a:gd name="connsiteX56" fmla="*/ 293344 w 1778688"/>
              <a:gd name="connsiteY56" fmla="*/ 146913 h 383935"/>
              <a:gd name="connsiteX57" fmla="*/ 274648 w 1778688"/>
              <a:gd name="connsiteY57" fmla="*/ 191961 h 383935"/>
              <a:gd name="connsiteX58" fmla="*/ 279029 w 1778688"/>
              <a:gd name="connsiteY58" fmla="*/ 199767 h 383935"/>
              <a:gd name="connsiteX59" fmla="*/ 293434 w 1778688"/>
              <a:gd name="connsiteY59" fmla="*/ 198665 h 383935"/>
              <a:gd name="connsiteX60" fmla="*/ 308889 w 1778688"/>
              <a:gd name="connsiteY60" fmla="*/ 199946 h 383935"/>
              <a:gd name="connsiteX61" fmla="*/ 385447 w 1778688"/>
              <a:gd name="connsiteY61" fmla="*/ 306637 h 383935"/>
              <a:gd name="connsiteX62" fmla="*/ 277979 w 1778688"/>
              <a:gd name="connsiteY62" fmla="*/ 382641 h 383935"/>
              <a:gd name="connsiteX63" fmla="*/ 201424 w 1778688"/>
              <a:gd name="connsiteY63" fmla="*/ 275950 h 383935"/>
              <a:gd name="connsiteX64" fmla="*/ 238756 w 1778688"/>
              <a:gd name="connsiteY64" fmla="*/ 291204 h 383935"/>
              <a:gd name="connsiteX65" fmla="*/ 248297 w 1778688"/>
              <a:gd name="connsiteY65" fmla="*/ 321925 h 383935"/>
              <a:gd name="connsiteX66" fmla="*/ 324254 w 1778688"/>
              <a:gd name="connsiteY66" fmla="*/ 336080 h 383935"/>
              <a:gd name="connsiteX67" fmla="*/ 338512 w 1778688"/>
              <a:gd name="connsiteY67" fmla="*/ 260669 h 383935"/>
              <a:gd name="connsiteX68" fmla="*/ 262554 w 1778688"/>
              <a:gd name="connsiteY68" fmla="*/ 246514 h 383935"/>
              <a:gd name="connsiteX69" fmla="*/ 240077 w 1778688"/>
              <a:gd name="connsiteY69" fmla="*/ 191961 h 383935"/>
              <a:gd name="connsiteX70" fmla="*/ 1113718 w 1778688"/>
              <a:gd name="connsiteY70" fmla="*/ 133387 h 383935"/>
              <a:gd name="connsiteX71" fmla="*/ 1064532 w 1778688"/>
              <a:gd name="connsiteY71" fmla="*/ 176439 h 383935"/>
              <a:gd name="connsiteX72" fmla="*/ 1161733 w 1778688"/>
              <a:gd name="connsiteY72" fmla="*/ 176439 h 383935"/>
              <a:gd name="connsiteX73" fmla="*/ 1113718 w 1778688"/>
              <a:gd name="connsiteY73" fmla="*/ 133387 h 383935"/>
              <a:gd name="connsiteX74" fmla="*/ 1651972 w 1778688"/>
              <a:gd name="connsiteY74" fmla="*/ 89947 h 383935"/>
              <a:gd name="connsiteX75" fmla="*/ 1728556 w 1778688"/>
              <a:gd name="connsiteY75" fmla="*/ 174770 h 383935"/>
              <a:gd name="connsiteX76" fmla="*/ 1728556 w 1778688"/>
              <a:gd name="connsiteY76" fmla="*/ 295911 h 383935"/>
              <a:gd name="connsiteX77" fmla="*/ 1677210 w 1778688"/>
              <a:gd name="connsiteY77" fmla="*/ 295911 h 383935"/>
              <a:gd name="connsiteX78" fmla="*/ 1677210 w 1778688"/>
              <a:gd name="connsiteY78" fmla="*/ 182278 h 383935"/>
              <a:gd name="connsiteX79" fmla="*/ 1636397 w 1778688"/>
              <a:gd name="connsiteY79" fmla="*/ 138005 h 383935"/>
              <a:gd name="connsiteX80" fmla="*/ 1595163 w 1778688"/>
              <a:gd name="connsiteY80" fmla="*/ 182278 h 383935"/>
              <a:gd name="connsiteX81" fmla="*/ 1595163 w 1778688"/>
              <a:gd name="connsiteY81" fmla="*/ 295911 h 383935"/>
              <a:gd name="connsiteX82" fmla="*/ 1543817 w 1778688"/>
              <a:gd name="connsiteY82" fmla="*/ 295911 h 383935"/>
              <a:gd name="connsiteX83" fmla="*/ 1543817 w 1778688"/>
              <a:gd name="connsiteY83" fmla="*/ 95787 h 383935"/>
              <a:gd name="connsiteX84" fmla="*/ 1595163 w 1778688"/>
              <a:gd name="connsiteY84" fmla="*/ 95787 h 383935"/>
              <a:gd name="connsiteX85" fmla="*/ 1595163 w 1778688"/>
              <a:gd name="connsiteY85" fmla="*/ 115421 h 383935"/>
              <a:gd name="connsiteX86" fmla="*/ 1651972 w 1778688"/>
              <a:gd name="connsiteY86" fmla="*/ 89947 h 383935"/>
              <a:gd name="connsiteX87" fmla="*/ 1415045 w 1778688"/>
              <a:gd name="connsiteY87" fmla="*/ 89947 h 383935"/>
              <a:gd name="connsiteX88" fmla="*/ 1520259 w 1778688"/>
              <a:gd name="connsiteY88" fmla="*/ 196073 h 383935"/>
              <a:gd name="connsiteX89" fmla="*/ 1415168 w 1778688"/>
              <a:gd name="connsiteY89" fmla="*/ 301781 h 383935"/>
              <a:gd name="connsiteX90" fmla="*/ 1415045 w 1778688"/>
              <a:gd name="connsiteY90" fmla="*/ 301781 h 383935"/>
              <a:gd name="connsiteX91" fmla="*/ 1310281 w 1778688"/>
              <a:gd name="connsiteY91" fmla="*/ 196073 h 383935"/>
              <a:gd name="connsiteX92" fmla="*/ 1415045 w 1778688"/>
              <a:gd name="connsiteY92" fmla="*/ 89947 h 383935"/>
              <a:gd name="connsiteX93" fmla="*/ 1112908 w 1778688"/>
              <a:gd name="connsiteY93" fmla="*/ 89947 h 383935"/>
              <a:gd name="connsiteX94" fmla="*/ 1214340 w 1778688"/>
              <a:gd name="connsiteY94" fmla="*/ 191902 h 383935"/>
              <a:gd name="connsiteX95" fmla="*/ 1213080 w 1778688"/>
              <a:gd name="connsiteY95" fmla="*/ 208616 h 383935"/>
              <a:gd name="connsiteX96" fmla="*/ 1063692 w 1778688"/>
              <a:gd name="connsiteY96" fmla="*/ 208616 h 383935"/>
              <a:gd name="connsiteX97" fmla="*/ 1121340 w 1778688"/>
              <a:gd name="connsiteY97" fmla="*/ 256643 h 383935"/>
              <a:gd name="connsiteX98" fmla="*/ 1170586 w 1778688"/>
              <a:gd name="connsiteY98" fmla="*/ 235788 h 383935"/>
              <a:gd name="connsiteX99" fmla="*/ 1197085 w 1778688"/>
              <a:gd name="connsiteY99" fmla="*/ 270468 h 383935"/>
              <a:gd name="connsiteX100" fmla="*/ 1119240 w 1778688"/>
              <a:gd name="connsiteY100" fmla="*/ 301811 h 383935"/>
              <a:gd name="connsiteX101" fmla="*/ 1011085 w 1778688"/>
              <a:gd name="connsiteY101" fmla="*/ 196073 h 383935"/>
              <a:gd name="connsiteX102" fmla="*/ 1112908 w 1778688"/>
              <a:gd name="connsiteY102" fmla="*/ 89947 h 383935"/>
              <a:gd name="connsiteX103" fmla="*/ 735056 w 1778688"/>
              <a:gd name="connsiteY103" fmla="*/ 89947 h 383935"/>
              <a:gd name="connsiteX104" fmla="*/ 796486 w 1778688"/>
              <a:gd name="connsiteY104" fmla="*/ 115838 h 383935"/>
              <a:gd name="connsiteX105" fmla="*/ 796486 w 1778688"/>
              <a:gd name="connsiteY105" fmla="*/ 95787 h 383935"/>
              <a:gd name="connsiteX106" fmla="*/ 848253 w 1778688"/>
              <a:gd name="connsiteY106" fmla="*/ 95787 h 383935"/>
              <a:gd name="connsiteX107" fmla="*/ 848253 w 1778688"/>
              <a:gd name="connsiteY107" fmla="*/ 295911 h 383935"/>
              <a:gd name="connsiteX108" fmla="*/ 796486 w 1778688"/>
              <a:gd name="connsiteY108" fmla="*/ 295911 h 383935"/>
              <a:gd name="connsiteX109" fmla="*/ 796486 w 1778688"/>
              <a:gd name="connsiteY109" fmla="*/ 274192 h 383935"/>
              <a:gd name="connsiteX110" fmla="*/ 735056 w 1778688"/>
              <a:gd name="connsiteY110" fmla="*/ 301781 h 383935"/>
              <a:gd name="connsiteX111" fmla="*/ 638245 w 1778688"/>
              <a:gd name="connsiteY111" fmla="*/ 196073 h 383935"/>
              <a:gd name="connsiteX112" fmla="*/ 735056 w 1778688"/>
              <a:gd name="connsiteY112" fmla="*/ 89947 h 383935"/>
              <a:gd name="connsiteX113" fmla="*/ 556409 w 1778688"/>
              <a:gd name="connsiteY113" fmla="*/ 89947 h 383935"/>
              <a:gd name="connsiteX114" fmla="*/ 635935 w 1778688"/>
              <a:gd name="connsiteY114" fmla="*/ 120039 h 383935"/>
              <a:gd name="connsiteX115" fmla="*/ 606465 w 1778688"/>
              <a:gd name="connsiteY115" fmla="*/ 156387 h 383935"/>
              <a:gd name="connsiteX116" fmla="*/ 558930 w 1778688"/>
              <a:gd name="connsiteY116" fmla="*/ 138005 h 383935"/>
              <a:gd name="connsiteX117" fmla="*/ 502542 w 1778688"/>
              <a:gd name="connsiteY117" fmla="*/ 195655 h 383935"/>
              <a:gd name="connsiteX118" fmla="*/ 558510 w 1778688"/>
              <a:gd name="connsiteY118" fmla="*/ 253724 h 383935"/>
              <a:gd name="connsiteX119" fmla="*/ 608146 w 1778688"/>
              <a:gd name="connsiteY119" fmla="*/ 234089 h 383935"/>
              <a:gd name="connsiteX120" fmla="*/ 634254 w 1778688"/>
              <a:gd name="connsiteY120" fmla="*/ 271689 h 383935"/>
              <a:gd name="connsiteX121" fmla="*/ 557249 w 1778688"/>
              <a:gd name="connsiteY121" fmla="*/ 301781 h 383935"/>
              <a:gd name="connsiteX122" fmla="*/ 451192 w 1778688"/>
              <a:gd name="connsiteY122" fmla="*/ 197148 h 383935"/>
              <a:gd name="connsiteX123" fmla="*/ 451195 w 1778688"/>
              <a:gd name="connsiteY123" fmla="*/ 196073 h 383935"/>
              <a:gd name="connsiteX124" fmla="*/ 556409 w 1778688"/>
              <a:gd name="connsiteY124" fmla="*/ 89947 h 383935"/>
              <a:gd name="connsiteX125" fmla="*/ 985847 w 1778688"/>
              <a:gd name="connsiteY125" fmla="*/ 89888 h 383935"/>
              <a:gd name="connsiteX126" fmla="*/ 1018258 w 1778688"/>
              <a:gd name="connsiteY126" fmla="*/ 99928 h 383935"/>
              <a:gd name="connsiteX127" fmla="*/ 996771 w 1778688"/>
              <a:gd name="connsiteY127" fmla="*/ 148373 h 383935"/>
              <a:gd name="connsiteX128" fmla="*/ 970272 w 1778688"/>
              <a:gd name="connsiteY128" fmla="*/ 139613 h 383935"/>
              <a:gd name="connsiteX129" fmla="*/ 936602 w 1778688"/>
              <a:gd name="connsiteY129" fmla="*/ 183887 h 383935"/>
              <a:gd name="connsiteX130" fmla="*/ 936602 w 1778688"/>
              <a:gd name="connsiteY130" fmla="*/ 295911 h 383935"/>
              <a:gd name="connsiteX131" fmla="*/ 885285 w 1778688"/>
              <a:gd name="connsiteY131" fmla="*/ 295911 h 383935"/>
              <a:gd name="connsiteX132" fmla="*/ 885285 w 1778688"/>
              <a:gd name="connsiteY132" fmla="*/ 95787 h 383935"/>
              <a:gd name="connsiteX133" fmla="*/ 936602 w 1778688"/>
              <a:gd name="connsiteY133" fmla="*/ 95787 h 383935"/>
              <a:gd name="connsiteX134" fmla="*/ 936602 w 1778688"/>
              <a:gd name="connsiteY134" fmla="*/ 117477 h 383935"/>
              <a:gd name="connsiteX135" fmla="*/ 985847 w 1778688"/>
              <a:gd name="connsiteY135" fmla="*/ 89888 h 383935"/>
              <a:gd name="connsiteX136" fmla="*/ 1235377 w 1778688"/>
              <a:gd name="connsiteY136" fmla="*/ 8491 h 383935"/>
              <a:gd name="connsiteX137" fmla="*/ 1286724 w 1778688"/>
              <a:gd name="connsiteY137" fmla="*/ 8491 h 383935"/>
              <a:gd name="connsiteX138" fmla="*/ 1286724 w 1778688"/>
              <a:gd name="connsiteY138" fmla="*/ 295912 h 383935"/>
              <a:gd name="connsiteX139" fmla="*/ 1235377 w 1778688"/>
              <a:gd name="connsiteY139" fmla="*/ 295912 h 383935"/>
              <a:gd name="connsiteX140" fmla="*/ 93300 w 1778688"/>
              <a:gd name="connsiteY140" fmla="*/ 0 h 383935"/>
              <a:gd name="connsiteX141" fmla="*/ 93300 w 1778688"/>
              <a:gd name="connsiteY141" fmla="*/ 30 h 383935"/>
              <a:gd name="connsiteX142" fmla="*/ 109343 w 1778688"/>
              <a:gd name="connsiteY142" fmla="*/ 1359 h 383935"/>
              <a:gd name="connsiteX143" fmla="*/ 184225 w 1778688"/>
              <a:gd name="connsiteY143" fmla="*/ 71343 h 383935"/>
              <a:gd name="connsiteX144" fmla="*/ 185309 w 1778688"/>
              <a:gd name="connsiteY144" fmla="*/ 107978 h 383935"/>
              <a:gd name="connsiteX145" fmla="*/ 193382 w 1778688"/>
              <a:gd name="connsiteY145" fmla="*/ 111280 h 383935"/>
              <a:gd name="connsiteX146" fmla="*/ 201244 w 1778688"/>
              <a:gd name="connsiteY146" fmla="*/ 106930 h 383935"/>
              <a:gd name="connsiteX147" fmla="*/ 200134 w 1778688"/>
              <a:gd name="connsiteY147" fmla="*/ 92629 h 383935"/>
              <a:gd name="connsiteX148" fmla="*/ 293434 w 1778688"/>
              <a:gd name="connsiteY148" fmla="*/ 0 h 383935"/>
              <a:gd name="connsiteX149" fmla="*/ 293434 w 1778688"/>
              <a:gd name="connsiteY149" fmla="*/ 149 h 383935"/>
              <a:gd name="connsiteX150" fmla="*/ 308877 w 1778688"/>
              <a:gd name="connsiteY150" fmla="*/ 1431 h 383935"/>
              <a:gd name="connsiteX151" fmla="*/ 385423 w 1778688"/>
              <a:gd name="connsiteY151" fmla="*/ 108131 h 383935"/>
              <a:gd name="connsiteX152" fmla="*/ 277949 w 1778688"/>
              <a:gd name="connsiteY152" fmla="*/ 184126 h 383935"/>
              <a:gd name="connsiteX153" fmla="*/ 293344 w 1778688"/>
              <a:gd name="connsiteY153" fmla="*/ 147062 h 383935"/>
              <a:gd name="connsiteX154" fmla="*/ 324287 w 1778688"/>
              <a:gd name="connsiteY154" fmla="*/ 137591 h 383935"/>
              <a:gd name="connsiteX155" fmla="*/ 338544 w 1778688"/>
              <a:gd name="connsiteY155" fmla="*/ 62180 h 383935"/>
              <a:gd name="connsiteX156" fmla="*/ 262587 w 1778688"/>
              <a:gd name="connsiteY156" fmla="*/ 48025 h 383935"/>
              <a:gd name="connsiteX157" fmla="*/ 248329 w 1778688"/>
              <a:gd name="connsiteY157" fmla="*/ 123436 h 383935"/>
              <a:gd name="connsiteX158" fmla="*/ 193382 w 1778688"/>
              <a:gd name="connsiteY158" fmla="*/ 145602 h 383935"/>
              <a:gd name="connsiteX159" fmla="*/ 138524 w 1778688"/>
              <a:gd name="connsiteY159" fmla="*/ 123168 h 383935"/>
              <a:gd name="connsiteX160" fmla="*/ 148003 w 1778688"/>
              <a:gd name="connsiteY160" fmla="*/ 92731 h 383935"/>
              <a:gd name="connsiteX161" fmla="*/ 138468 w 1778688"/>
              <a:gd name="connsiteY161" fmla="*/ 62028 h 383935"/>
              <a:gd name="connsiteX162" fmla="*/ 62510 w 1778688"/>
              <a:gd name="connsiteY162" fmla="*/ 47873 h 383935"/>
              <a:gd name="connsiteX163" fmla="*/ 48253 w 1778688"/>
              <a:gd name="connsiteY163" fmla="*/ 123284 h 383935"/>
              <a:gd name="connsiteX164" fmla="*/ 124210 w 1778688"/>
              <a:gd name="connsiteY164" fmla="*/ 137439 h 383935"/>
              <a:gd name="connsiteX165" fmla="*/ 146657 w 1778688"/>
              <a:gd name="connsiteY165" fmla="*/ 191961 h 383935"/>
              <a:gd name="connsiteX166" fmla="*/ 124000 w 1778688"/>
              <a:gd name="connsiteY166" fmla="*/ 246424 h 383935"/>
              <a:gd name="connsiteX167" fmla="*/ 111996 w 1778688"/>
              <a:gd name="connsiteY167" fmla="*/ 240287 h 383935"/>
              <a:gd name="connsiteX168" fmla="*/ 93390 w 1778688"/>
              <a:gd name="connsiteY168" fmla="*/ 237009 h 383935"/>
              <a:gd name="connsiteX169" fmla="*/ 62447 w 1778688"/>
              <a:gd name="connsiteY169" fmla="*/ 246480 h 383935"/>
              <a:gd name="connsiteX170" fmla="*/ 48189 w 1778688"/>
              <a:gd name="connsiteY170" fmla="*/ 321891 h 383935"/>
              <a:gd name="connsiteX171" fmla="*/ 124147 w 1778688"/>
              <a:gd name="connsiteY171" fmla="*/ 336046 h 383935"/>
              <a:gd name="connsiteX172" fmla="*/ 138404 w 1778688"/>
              <a:gd name="connsiteY172" fmla="*/ 260635 h 383935"/>
              <a:gd name="connsiteX173" fmla="*/ 193382 w 1778688"/>
              <a:gd name="connsiteY173" fmla="*/ 238320 h 383935"/>
              <a:gd name="connsiteX174" fmla="*/ 248210 w 1778688"/>
              <a:gd name="connsiteY174" fmla="*/ 260754 h 383935"/>
              <a:gd name="connsiteX175" fmla="*/ 238757 w 1778688"/>
              <a:gd name="connsiteY175" fmla="*/ 291203 h 383935"/>
              <a:gd name="connsiteX176" fmla="*/ 193382 w 1778688"/>
              <a:gd name="connsiteY176" fmla="*/ 272642 h 383935"/>
              <a:gd name="connsiteX177" fmla="*/ 185519 w 1778688"/>
              <a:gd name="connsiteY177" fmla="*/ 276992 h 383935"/>
              <a:gd name="connsiteX178" fmla="*/ 185351 w 1778688"/>
              <a:gd name="connsiteY178" fmla="*/ 306526 h 383935"/>
              <a:gd name="connsiteX179" fmla="*/ 77998 w 1778688"/>
              <a:gd name="connsiteY179" fmla="*/ 382542 h 383935"/>
              <a:gd name="connsiteX180" fmla="*/ 1431 w 1778688"/>
              <a:gd name="connsiteY180" fmla="*/ 275961 h 383935"/>
              <a:gd name="connsiteX181" fmla="*/ 71780 w 1778688"/>
              <a:gd name="connsiteY181" fmla="*/ 201171 h 383935"/>
              <a:gd name="connsiteX182" fmla="*/ 108762 w 1778688"/>
              <a:gd name="connsiteY182" fmla="*/ 199946 h 383935"/>
              <a:gd name="connsiteX183" fmla="*/ 112086 w 1778688"/>
              <a:gd name="connsiteY183" fmla="*/ 191932 h 383935"/>
              <a:gd name="connsiteX184" fmla="*/ 107705 w 1778688"/>
              <a:gd name="connsiteY184" fmla="*/ 184155 h 383935"/>
              <a:gd name="connsiteX185" fmla="*/ 93300 w 1778688"/>
              <a:gd name="connsiteY185" fmla="*/ 185258 h 383935"/>
              <a:gd name="connsiteX186" fmla="*/ 0 w 1778688"/>
              <a:gd name="connsiteY186" fmla="*/ 92629 h 383935"/>
              <a:gd name="connsiteX187" fmla="*/ 93300 w 1778688"/>
              <a:gd name="connsiteY187" fmla="*/ 0 h 383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1778688" h="383935">
                <a:moveTo>
                  <a:pt x="1758931" y="270064"/>
                </a:moveTo>
                <a:lnTo>
                  <a:pt x="1765112" y="270064"/>
                </a:lnTo>
                <a:lnTo>
                  <a:pt x="1768824" y="284017"/>
                </a:lnTo>
                <a:lnTo>
                  <a:pt x="1772493" y="270064"/>
                </a:lnTo>
                <a:lnTo>
                  <a:pt x="1778688" y="270064"/>
                </a:lnTo>
                <a:lnTo>
                  <a:pt x="1778688" y="290519"/>
                </a:lnTo>
                <a:lnTo>
                  <a:pt x="1774851" y="290519"/>
                </a:lnTo>
                <a:lnTo>
                  <a:pt x="1774851" y="274418"/>
                </a:lnTo>
                <a:lnTo>
                  <a:pt x="1770791" y="290519"/>
                </a:lnTo>
                <a:lnTo>
                  <a:pt x="1766815" y="290519"/>
                </a:lnTo>
                <a:lnTo>
                  <a:pt x="1762768" y="274418"/>
                </a:lnTo>
                <a:lnTo>
                  <a:pt x="1762768" y="290519"/>
                </a:lnTo>
                <a:lnTo>
                  <a:pt x="1758931" y="290519"/>
                </a:lnTo>
                <a:close/>
                <a:moveTo>
                  <a:pt x="1747095" y="269716"/>
                </a:moveTo>
                <a:cubicBezTo>
                  <a:pt x="1749662" y="269716"/>
                  <a:pt x="1751594" y="270278"/>
                  <a:pt x="1752892" y="271404"/>
                </a:cubicBezTo>
                <a:cubicBezTo>
                  <a:pt x="1754190" y="272529"/>
                  <a:pt x="1754871" y="274032"/>
                  <a:pt x="1754936" y="275911"/>
                </a:cubicBezTo>
                <a:lnTo>
                  <a:pt x="1750806" y="276092"/>
                </a:lnTo>
                <a:cubicBezTo>
                  <a:pt x="1750629" y="275041"/>
                  <a:pt x="1750250" y="274285"/>
                  <a:pt x="1749669" y="273825"/>
                </a:cubicBezTo>
                <a:cubicBezTo>
                  <a:pt x="1749088" y="273364"/>
                  <a:pt x="1748216" y="273134"/>
                  <a:pt x="1747053" y="273134"/>
                </a:cubicBezTo>
                <a:cubicBezTo>
                  <a:pt x="1745853" y="273134"/>
                  <a:pt x="1744914" y="273381"/>
                  <a:pt x="1744234" y="273874"/>
                </a:cubicBezTo>
                <a:cubicBezTo>
                  <a:pt x="1743797" y="274190"/>
                  <a:pt x="1743579" y="274613"/>
                  <a:pt x="1743579" y="275143"/>
                </a:cubicBezTo>
                <a:cubicBezTo>
                  <a:pt x="1743579" y="275627"/>
                  <a:pt x="1743783" y="276041"/>
                  <a:pt x="1744193" y="276385"/>
                </a:cubicBezTo>
                <a:cubicBezTo>
                  <a:pt x="1744714" y="276822"/>
                  <a:pt x="1745979" y="277278"/>
                  <a:pt x="1747988" y="277752"/>
                </a:cubicBezTo>
                <a:cubicBezTo>
                  <a:pt x="1749997" y="278227"/>
                  <a:pt x="1751483" y="278717"/>
                  <a:pt x="1752446" y="279224"/>
                </a:cubicBezTo>
                <a:cubicBezTo>
                  <a:pt x="1753408" y="279731"/>
                  <a:pt x="1754162" y="280424"/>
                  <a:pt x="1754706" y="281303"/>
                </a:cubicBezTo>
                <a:cubicBezTo>
                  <a:pt x="1755250" y="282182"/>
                  <a:pt x="1755522" y="283268"/>
                  <a:pt x="1755522" y="284561"/>
                </a:cubicBezTo>
                <a:cubicBezTo>
                  <a:pt x="1755522" y="285733"/>
                  <a:pt x="1755197" y="286831"/>
                  <a:pt x="1754545" y="287854"/>
                </a:cubicBezTo>
                <a:cubicBezTo>
                  <a:pt x="1753894" y="288877"/>
                  <a:pt x="1752973" y="289638"/>
                  <a:pt x="1751783" y="290135"/>
                </a:cubicBezTo>
                <a:cubicBezTo>
                  <a:pt x="1750592" y="290633"/>
                  <a:pt x="1749109" y="290882"/>
                  <a:pt x="1747332" y="290882"/>
                </a:cubicBezTo>
                <a:cubicBezTo>
                  <a:pt x="1744746" y="290882"/>
                  <a:pt x="1742760" y="290284"/>
                  <a:pt x="1741374" y="289089"/>
                </a:cubicBezTo>
                <a:cubicBezTo>
                  <a:pt x="1739988" y="287894"/>
                  <a:pt x="1739160" y="286152"/>
                  <a:pt x="1738891" y="283864"/>
                </a:cubicBezTo>
                <a:lnTo>
                  <a:pt x="1742909" y="283473"/>
                </a:lnTo>
                <a:cubicBezTo>
                  <a:pt x="1743151" y="284822"/>
                  <a:pt x="1743641" y="285812"/>
                  <a:pt x="1744381" y="286445"/>
                </a:cubicBezTo>
                <a:cubicBezTo>
                  <a:pt x="1745120" y="287077"/>
                  <a:pt x="1746118" y="287394"/>
                  <a:pt x="1747374" y="287394"/>
                </a:cubicBezTo>
                <a:cubicBezTo>
                  <a:pt x="1748704" y="287394"/>
                  <a:pt x="1749706" y="287112"/>
                  <a:pt x="1750381" y="286550"/>
                </a:cubicBezTo>
                <a:cubicBezTo>
                  <a:pt x="1751055" y="285987"/>
                  <a:pt x="1751392" y="285329"/>
                  <a:pt x="1751392" y="284575"/>
                </a:cubicBezTo>
                <a:cubicBezTo>
                  <a:pt x="1751392" y="284092"/>
                  <a:pt x="1751250" y="283680"/>
                  <a:pt x="1750967" y="283340"/>
                </a:cubicBezTo>
                <a:cubicBezTo>
                  <a:pt x="1750683" y="283001"/>
                  <a:pt x="1750188" y="282706"/>
                  <a:pt x="1749481" y="282454"/>
                </a:cubicBezTo>
                <a:cubicBezTo>
                  <a:pt x="1748997" y="282287"/>
                  <a:pt x="1747895" y="281989"/>
                  <a:pt x="1746174" y="281561"/>
                </a:cubicBezTo>
                <a:cubicBezTo>
                  <a:pt x="1743960" y="281013"/>
                  <a:pt x="1742407" y="280338"/>
                  <a:pt x="1741514" y="279538"/>
                </a:cubicBezTo>
                <a:cubicBezTo>
                  <a:pt x="1740258" y="278413"/>
                  <a:pt x="1739630" y="277041"/>
                  <a:pt x="1739630" y="275422"/>
                </a:cubicBezTo>
                <a:cubicBezTo>
                  <a:pt x="1739630" y="274380"/>
                  <a:pt x="1739925" y="273406"/>
                  <a:pt x="1740516" y="272499"/>
                </a:cubicBezTo>
                <a:cubicBezTo>
                  <a:pt x="1741107" y="271592"/>
                  <a:pt x="1741958" y="270902"/>
                  <a:pt x="1743069" y="270427"/>
                </a:cubicBezTo>
                <a:cubicBezTo>
                  <a:pt x="1744181" y="269953"/>
                  <a:pt x="1745523" y="269716"/>
                  <a:pt x="1747095" y="269716"/>
                </a:cubicBezTo>
                <a:close/>
                <a:moveTo>
                  <a:pt x="1415465" y="138005"/>
                </a:moveTo>
                <a:cubicBezTo>
                  <a:pt x="1384735" y="138005"/>
                  <a:pt x="1361597" y="163478"/>
                  <a:pt x="1361597" y="195655"/>
                </a:cubicBezTo>
                <a:cubicBezTo>
                  <a:pt x="1361597" y="227833"/>
                  <a:pt x="1384345" y="253724"/>
                  <a:pt x="1415465" y="253724"/>
                </a:cubicBezTo>
                <a:cubicBezTo>
                  <a:pt x="1446585" y="253724"/>
                  <a:pt x="1468492" y="227714"/>
                  <a:pt x="1468492" y="195655"/>
                </a:cubicBezTo>
                <a:cubicBezTo>
                  <a:pt x="1468492" y="163478"/>
                  <a:pt x="1446195" y="138005"/>
                  <a:pt x="1415465" y="138005"/>
                </a:cubicBezTo>
                <a:close/>
                <a:moveTo>
                  <a:pt x="743459" y="138005"/>
                </a:moveTo>
                <a:cubicBezTo>
                  <a:pt x="712729" y="138005"/>
                  <a:pt x="689592" y="163478"/>
                  <a:pt x="689592" y="195655"/>
                </a:cubicBezTo>
                <a:cubicBezTo>
                  <a:pt x="689592" y="227833"/>
                  <a:pt x="712309" y="253724"/>
                  <a:pt x="743459" y="253724"/>
                </a:cubicBezTo>
                <a:cubicBezTo>
                  <a:pt x="774609" y="253724"/>
                  <a:pt x="796486" y="227714"/>
                  <a:pt x="796486" y="195655"/>
                </a:cubicBezTo>
                <a:cubicBezTo>
                  <a:pt x="796486" y="163478"/>
                  <a:pt x="774189" y="138005"/>
                  <a:pt x="743459" y="138005"/>
                </a:cubicBezTo>
                <a:close/>
                <a:moveTo>
                  <a:pt x="262734" y="137498"/>
                </a:moveTo>
                <a:cubicBezTo>
                  <a:pt x="266461" y="140037"/>
                  <a:pt x="270492" y="142099"/>
                  <a:pt x="274738" y="143636"/>
                </a:cubicBezTo>
                <a:cubicBezTo>
                  <a:pt x="280701" y="145793"/>
                  <a:pt x="286997" y="146901"/>
                  <a:pt x="293344" y="146913"/>
                </a:cubicBezTo>
                <a:lnTo>
                  <a:pt x="274648" y="191961"/>
                </a:lnTo>
                <a:lnTo>
                  <a:pt x="279029" y="199767"/>
                </a:lnTo>
                <a:cubicBezTo>
                  <a:pt x="283795" y="199022"/>
                  <a:pt x="288612" y="198653"/>
                  <a:pt x="293434" y="198665"/>
                </a:cubicBezTo>
                <a:cubicBezTo>
                  <a:pt x="298614" y="198665"/>
                  <a:pt x="303784" y="199094"/>
                  <a:pt x="308889" y="199946"/>
                </a:cubicBezTo>
                <a:cubicBezTo>
                  <a:pt x="359707" y="208419"/>
                  <a:pt x="393982" y="256188"/>
                  <a:pt x="385447" y="306637"/>
                </a:cubicBezTo>
                <a:cubicBezTo>
                  <a:pt x="376912" y="357087"/>
                  <a:pt x="328797" y="391117"/>
                  <a:pt x="277979" y="382641"/>
                </a:cubicBezTo>
                <a:cubicBezTo>
                  <a:pt x="227164" y="374168"/>
                  <a:pt x="192890" y="326400"/>
                  <a:pt x="201424" y="275950"/>
                </a:cubicBezTo>
                <a:lnTo>
                  <a:pt x="238756" y="291204"/>
                </a:lnTo>
                <a:cubicBezTo>
                  <a:pt x="238738" y="302165"/>
                  <a:pt x="242064" y="312876"/>
                  <a:pt x="248297" y="321925"/>
                </a:cubicBezTo>
                <a:cubicBezTo>
                  <a:pt x="265336" y="346656"/>
                  <a:pt x="299343" y="352993"/>
                  <a:pt x="324254" y="336080"/>
                </a:cubicBezTo>
                <a:cubicBezTo>
                  <a:pt x="349165" y="319163"/>
                  <a:pt x="355548" y="285400"/>
                  <a:pt x="338512" y="260669"/>
                </a:cubicBezTo>
                <a:cubicBezTo>
                  <a:pt x="321472" y="235937"/>
                  <a:pt x="287465" y="229600"/>
                  <a:pt x="262554" y="246514"/>
                </a:cubicBezTo>
                <a:lnTo>
                  <a:pt x="240077" y="191961"/>
                </a:lnTo>
                <a:close/>
                <a:moveTo>
                  <a:pt x="1113718" y="133387"/>
                </a:moveTo>
                <a:cubicBezTo>
                  <a:pt x="1088090" y="133387"/>
                  <a:pt x="1070414" y="150935"/>
                  <a:pt x="1064532" y="176439"/>
                </a:cubicBezTo>
                <a:lnTo>
                  <a:pt x="1161733" y="176439"/>
                </a:lnTo>
                <a:cubicBezTo>
                  <a:pt x="1155732" y="148015"/>
                  <a:pt x="1137726" y="133387"/>
                  <a:pt x="1113718" y="133387"/>
                </a:cubicBezTo>
                <a:close/>
                <a:moveTo>
                  <a:pt x="1651972" y="89947"/>
                </a:moveTo>
                <a:cubicBezTo>
                  <a:pt x="1698547" y="89947"/>
                  <a:pt x="1728556" y="122542"/>
                  <a:pt x="1728556" y="174770"/>
                </a:cubicBezTo>
                <a:lnTo>
                  <a:pt x="1728556" y="295911"/>
                </a:lnTo>
                <a:lnTo>
                  <a:pt x="1677210" y="295911"/>
                </a:lnTo>
                <a:lnTo>
                  <a:pt x="1677210" y="182278"/>
                </a:lnTo>
                <a:cubicBezTo>
                  <a:pt x="1677210" y="155136"/>
                  <a:pt x="1661215" y="138005"/>
                  <a:pt x="1636397" y="138005"/>
                </a:cubicBezTo>
                <a:cubicBezTo>
                  <a:pt x="1610739" y="138005"/>
                  <a:pt x="1595163" y="155136"/>
                  <a:pt x="1595163" y="182278"/>
                </a:cubicBezTo>
                <a:lnTo>
                  <a:pt x="1595163" y="295911"/>
                </a:lnTo>
                <a:lnTo>
                  <a:pt x="1543817" y="295911"/>
                </a:lnTo>
                <a:lnTo>
                  <a:pt x="1543817" y="95787"/>
                </a:lnTo>
                <a:lnTo>
                  <a:pt x="1595163" y="95787"/>
                </a:lnTo>
                <a:lnTo>
                  <a:pt x="1595163" y="115421"/>
                </a:lnTo>
                <a:cubicBezTo>
                  <a:pt x="1607768" y="99154"/>
                  <a:pt x="1627124" y="89947"/>
                  <a:pt x="1651972" y="89947"/>
                </a:cubicBezTo>
                <a:close/>
                <a:moveTo>
                  <a:pt x="1415045" y="89947"/>
                </a:moveTo>
                <a:cubicBezTo>
                  <a:pt x="1473534" y="89947"/>
                  <a:pt x="1520259" y="137617"/>
                  <a:pt x="1520259" y="196073"/>
                </a:cubicBezTo>
                <a:cubicBezTo>
                  <a:pt x="1520640" y="254075"/>
                  <a:pt x="1473591" y="301399"/>
                  <a:pt x="1415168" y="301781"/>
                </a:cubicBezTo>
                <a:cubicBezTo>
                  <a:pt x="1415129" y="301781"/>
                  <a:pt x="1415087" y="301781"/>
                  <a:pt x="1415045" y="301781"/>
                </a:cubicBezTo>
                <a:cubicBezTo>
                  <a:pt x="1356436" y="301781"/>
                  <a:pt x="1310281" y="254141"/>
                  <a:pt x="1310281" y="196073"/>
                </a:cubicBezTo>
                <a:cubicBezTo>
                  <a:pt x="1310281" y="137588"/>
                  <a:pt x="1356556" y="89947"/>
                  <a:pt x="1415045" y="89947"/>
                </a:cubicBezTo>
                <a:close/>
                <a:moveTo>
                  <a:pt x="1112908" y="89947"/>
                </a:moveTo>
                <a:cubicBezTo>
                  <a:pt x="1170976" y="89947"/>
                  <a:pt x="1214340" y="134221"/>
                  <a:pt x="1214340" y="191902"/>
                </a:cubicBezTo>
                <a:cubicBezTo>
                  <a:pt x="1214458" y="197500"/>
                  <a:pt x="1214034" y="203098"/>
                  <a:pt x="1213080" y="208616"/>
                </a:cubicBezTo>
                <a:lnTo>
                  <a:pt x="1063692" y="208616"/>
                </a:lnTo>
                <a:cubicBezTo>
                  <a:pt x="1068734" y="236592"/>
                  <a:pt x="1090190" y="256643"/>
                  <a:pt x="1121340" y="256643"/>
                </a:cubicBezTo>
                <a:cubicBezTo>
                  <a:pt x="1139928" y="256625"/>
                  <a:pt x="1157709" y="249094"/>
                  <a:pt x="1170586" y="235788"/>
                </a:cubicBezTo>
                <a:lnTo>
                  <a:pt x="1197085" y="270468"/>
                </a:lnTo>
                <a:cubicBezTo>
                  <a:pt x="1182080" y="288016"/>
                  <a:pt x="1153331" y="301811"/>
                  <a:pt x="1119240" y="301811"/>
                </a:cubicBezTo>
                <a:cubicBezTo>
                  <a:pt x="1056520" y="301781"/>
                  <a:pt x="1011085" y="254141"/>
                  <a:pt x="1011085" y="196073"/>
                </a:cubicBezTo>
                <a:cubicBezTo>
                  <a:pt x="1011085" y="137588"/>
                  <a:pt x="1054839" y="89947"/>
                  <a:pt x="1112908" y="89947"/>
                </a:cubicBezTo>
                <a:close/>
                <a:moveTo>
                  <a:pt x="735056" y="89947"/>
                </a:moveTo>
                <a:cubicBezTo>
                  <a:pt x="761555" y="89947"/>
                  <a:pt x="782171" y="99571"/>
                  <a:pt x="796486" y="115838"/>
                </a:cubicBezTo>
                <a:lnTo>
                  <a:pt x="796486" y="95787"/>
                </a:lnTo>
                <a:lnTo>
                  <a:pt x="848253" y="95787"/>
                </a:lnTo>
                <a:lnTo>
                  <a:pt x="848253" y="295911"/>
                </a:lnTo>
                <a:lnTo>
                  <a:pt x="796486" y="295911"/>
                </a:lnTo>
                <a:lnTo>
                  <a:pt x="796486" y="274192"/>
                </a:lnTo>
                <a:cubicBezTo>
                  <a:pt x="781274" y="292151"/>
                  <a:pt x="758686" y="302296"/>
                  <a:pt x="735056" y="301781"/>
                </a:cubicBezTo>
                <a:cubicBezTo>
                  <a:pt x="681609" y="301781"/>
                  <a:pt x="638245" y="258312"/>
                  <a:pt x="638245" y="196073"/>
                </a:cubicBezTo>
                <a:cubicBezTo>
                  <a:pt x="638245" y="135502"/>
                  <a:pt x="679088" y="89947"/>
                  <a:pt x="735056" y="89947"/>
                </a:cubicBezTo>
                <a:close/>
                <a:moveTo>
                  <a:pt x="556409" y="89947"/>
                </a:moveTo>
                <a:cubicBezTo>
                  <a:pt x="590920" y="89947"/>
                  <a:pt x="618259" y="101656"/>
                  <a:pt x="635935" y="120039"/>
                </a:cubicBezTo>
                <a:lnTo>
                  <a:pt x="606465" y="156387"/>
                </a:lnTo>
                <a:cubicBezTo>
                  <a:pt x="593831" y="144044"/>
                  <a:pt x="576644" y="137397"/>
                  <a:pt x="558930" y="138005"/>
                </a:cubicBezTo>
                <a:cubicBezTo>
                  <a:pt x="525259" y="138005"/>
                  <a:pt x="502542" y="163478"/>
                  <a:pt x="502542" y="195655"/>
                </a:cubicBezTo>
                <a:cubicBezTo>
                  <a:pt x="502542" y="227833"/>
                  <a:pt x="525679" y="253724"/>
                  <a:pt x="558510" y="253724"/>
                </a:cubicBezTo>
                <a:cubicBezTo>
                  <a:pt x="577074" y="254248"/>
                  <a:pt x="595031" y="247142"/>
                  <a:pt x="608146" y="234089"/>
                </a:cubicBezTo>
                <a:lnTo>
                  <a:pt x="634254" y="271689"/>
                </a:lnTo>
                <a:cubicBezTo>
                  <a:pt x="618259" y="289238"/>
                  <a:pt x="589239" y="301781"/>
                  <a:pt x="557249" y="301781"/>
                </a:cubicBezTo>
                <a:cubicBezTo>
                  <a:pt x="498859" y="301962"/>
                  <a:pt x="451378" y="255118"/>
                  <a:pt x="451192" y="197148"/>
                </a:cubicBezTo>
                <a:cubicBezTo>
                  <a:pt x="451192" y="196791"/>
                  <a:pt x="451192" y="196430"/>
                  <a:pt x="451195" y="196073"/>
                </a:cubicBezTo>
                <a:cubicBezTo>
                  <a:pt x="451195" y="137588"/>
                  <a:pt x="497500" y="89947"/>
                  <a:pt x="556409" y="89947"/>
                </a:cubicBezTo>
                <a:close/>
                <a:moveTo>
                  <a:pt x="985847" y="89888"/>
                </a:moveTo>
                <a:cubicBezTo>
                  <a:pt x="997485" y="89483"/>
                  <a:pt x="1008916" y="93022"/>
                  <a:pt x="1018258" y="99928"/>
                </a:cubicBezTo>
                <a:lnTo>
                  <a:pt x="996771" y="148373"/>
                </a:lnTo>
                <a:cubicBezTo>
                  <a:pt x="989142" y="142652"/>
                  <a:pt x="979833" y="139575"/>
                  <a:pt x="970272" y="139613"/>
                </a:cubicBezTo>
                <a:cubicBezTo>
                  <a:pt x="949656" y="139613"/>
                  <a:pt x="936602" y="156745"/>
                  <a:pt x="936602" y="183887"/>
                </a:cubicBezTo>
                <a:lnTo>
                  <a:pt x="936602" y="295911"/>
                </a:lnTo>
                <a:lnTo>
                  <a:pt x="885285" y="295911"/>
                </a:lnTo>
                <a:lnTo>
                  <a:pt x="885285" y="95787"/>
                </a:lnTo>
                <a:lnTo>
                  <a:pt x="936602" y="95787"/>
                </a:lnTo>
                <a:lnTo>
                  <a:pt x="936602" y="117477"/>
                </a:lnTo>
                <a:cubicBezTo>
                  <a:pt x="947975" y="100763"/>
                  <a:pt x="964811" y="89888"/>
                  <a:pt x="985847" y="89888"/>
                </a:cubicBezTo>
                <a:close/>
                <a:moveTo>
                  <a:pt x="1235377" y="8491"/>
                </a:moveTo>
                <a:lnTo>
                  <a:pt x="1286724" y="8491"/>
                </a:lnTo>
                <a:lnTo>
                  <a:pt x="1286724" y="295912"/>
                </a:lnTo>
                <a:lnTo>
                  <a:pt x="1235377" y="295912"/>
                </a:lnTo>
                <a:close/>
                <a:moveTo>
                  <a:pt x="93300" y="0"/>
                </a:moveTo>
                <a:lnTo>
                  <a:pt x="93300" y="30"/>
                </a:lnTo>
                <a:cubicBezTo>
                  <a:pt x="98678" y="12"/>
                  <a:pt x="104044" y="456"/>
                  <a:pt x="109343" y="1359"/>
                </a:cubicBezTo>
                <a:cubicBezTo>
                  <a:pt x="147325" y="7825"/>
                  <a:pt x="175950" y="36300"/>
                  <a:pt x="184225" y="71343"/>
                </a:cubicBezTo>
                <a:lnTo>
                  <a:pt x="185309" y="107978"/>
                </a:lnTo>
                <a:lnTo>
                  <a:pt x="193382" y="111280"/>
                </a:lnTo>
                <a:lnTo>
                  <a:pt x="201244" y="106930"/>
                </a:lnTo>
                <a:cubicBezTo>
                  <a:pt x="200494" y="102199"/>
                  <a:pt x="200122" y="97417"/>
                  <a:pt x="200134" y="92629"/>
                </a:cubicBezTo>
                <a:cubicBezTo>
                  <a:pt x="200134" y="41470"/>
                  <a:pt x="241904" y="0"/>
                  <a:pt x="293434" y="0"/>
                </a:cubicBezTo>
                <a:lnTo>
                  <a:pt x="293434" y="149"/>
                </a:lnTo>
                <a:cubicBezTo>
                  <a:pt x="298608" y="149"/>
                  <a:pt x="303772" y="578"/>
                  <a:pt x="308877" y="1431"/>
                </a:cubicBezTo>
                <a:cubicBezTo>
                  <a:pt x="359692" y="9910"/>
                  <a:pt x="393963" y="57681"/>
                  <a:pt x="385423" y="108131"/>
                </a:cubicBezTo>
                <a:cubicBezTo>
                  <a:pt x="376882" y="158580"/>
                  <a:pt x="328764" y="192605"/>
                  <a:pt x="277949" y="184126"/>
                </a:cubicBezTo>
                <a:lnTo>
                  <a:pt x="293344" y="147062"/>
                </a:lnTo>
                <a:cubicBezTo>
                  <a:pt x="304384" y="147080"/>
                  <a:pt x="315173" y="143779"/>
                  <a:pt x="324287" y="137591"/>
                </a:cubicBezTo>
                <a:cubicBezTo>
                  <a:pt x="349198" y="120674"/>
                  <a:pt x="355581" y="86912"/>
                  <a:pt x="338544" y="62180"/>
                </a:cubicBezTo>
                <a:cubicBezTo>
                  <a:pt x="321505" y="37448"/>
                  <a:pt x="287498" y="31111"/>
                  <a:pt x="262587" y="48025"/>
                </a:cubicBezTo>
                <a:cubicBezTo>
                  <a:pt x="237676" y="64942"/>
                  <a:pt x="231293" y="98704"/>
                  <a:pt x="248329" y="123436"/>
                </a:cubicBezTo>
                <a:lnTo>
                  <a:pt x="193382" y="145602"/>
                </a:lnTo>
                <a:lnTo>
                  <a:pt x="138524" y="123168"/>
                </a:lnTo>
                <a:lnTo>
                  <a:pt x="148003" y="92731"/>
                </a:lnTo>
                <a:lnTo>
                  <a:pt x="138468" y="62028"/>
                </a:lnTo>
                <a:cubicBezTo>
                  <a:pt x="121428" y="37296"/>
                  <a:pt x="87421" y="30959"/>
                  <a:pt x="62510" y="47873"/>
                </a:cubicBezTo>
                <a:cubicBezTo>
                  <a:pt x="37599" y="64790"/>
                  <a:pt x="31216" y="98552"/>
                  <a:pt x="48253" y="123284"/>
                </a:cubicBezTo>
                <a:cubicBezTo>
                  <a:pt x="65292" y="148016"/>
                  <a:pt x="99299" y="154353"/>
                  <a:pt x="124210" y="137439"/>
                </a:cubicBezTo>
                <a:lnTo>
                  <a:pt x="146657" y="191961"/>
                </a:lnTo>
                <a:lnTo>
                  <a:pt x="124000" y="246424"/>
                </a:lnTo>
                <a:cubicBezTo>
                  <a:pt x="120279" y="243880"/>
                  <a:pt x="116242" y="241818"/>
                  <a:pt x="111996" y="240287"/>
                </a:cubicBezTo>
                <a:cubicBezTo>
                  <a:pt x="106033" y="238130"/>
                  <a:pt x="99737" y="237018"/>
                  <a:pt x="93390" y="237009"/>
                </a:cubicBezTo>
                <a:cubicBezTo>
                  <a:pt x="82349" y="236991"/>
                  <a:pt x="71561" y="240292"/>
                  <a:pt x="62447" y="246480"/>
                </a:cubicBezTo>
                <a:cubicBezTo>
                  <a:pt x="37536" y="263397"/>
                  <a:pt x="31153" y="297159"/>
                  <a:pt x="48189" y="321891"/>
                </a:cubicBezTo>
                <a:cubicBezTo>
                  <a:pt x="65229" y="346623"/>
                  <a:pt x="99236" y="352960"/>
                  <a:pt x="124147" y="336046"/>
                </a:cubicBezTo>
                <a:cubicBezTo>
                  <a:pt x="149058" y="319129"/>
                  <a:pt x="155441" y="285367"/>
                  <a:pt x="138404" y="260635"/>
                </a:cubicBezTo>
                <a:lnTo>
                  <a:pt x="193382" y="238320"/>
                </a:lnTo>
                <a:lnTo>
                  <a:pt x="248210" y="260754"/>
                </a:lnTo>
                <a:cubicBezTo>
                  <a:pt x="242079" y="269746"/>
                  <a:pt x="238790" y="280347"/>
                  <a:pt x="238757" y="291203"/>
                </a:cubicBezTo>
                <a:lnTo>
                  <a:pt x="193382" y="272642"/>
                </a:lnTo>
                <a:lnTo>
                  <a:pt x="185519" y="276992"/>
                </a:lnTo>
                <a:cubicBezTo>
                  <a:pt x="187056" y="286782"/>
                  <a:pt x="186999" y="296754"/>
                  <a:pt x="185351" y="306526"/>
                </a:cubicBezTo>
                <a:cubicBezTo>
                  <a:pt x="176850" y="356949"/>
                  <a:pt x="128786" y="390983"/>
                  <a:pt x="77998" y="382542"/>
                </a:cubicBezTo>
                <a:cubicBezTo>
                  <a:pt x="27209" y="374102"/>
                  <a:pt x="-7071" y="326384"/>
                  <a:pt x="1431" y="275961"/>
                </a:cubicBezTo>
                <a:cubicBezTo>
                  <a:pt x="7808" y="238144"/>
                  <a:pt x="36437" y="209546"/>
                  <a:pt x="71780" y="201171"/>
                </a:cubicBezTo>
                <a:lnTo>
                  <a:pt x="108762" y="199946"/>
                </a:lnTo>
                <a:lnTo>
                  <a:pt x="112086" y="191932"/>
                </a:lnTo>
                <a:lnTo>
                  <a:pt x="107705" y="184155"/>
                </a:lnTo>
                <a:cubicBezTo>
                  <a:pt x="102939" y="184900"/>
                  <a:pt x="98123" y="185270"/>
                  <a:pt x="93300" y="185258"/>
                </a:cubicBezTo>
                <a:cubicBezTo>
                  <a:pt x="41770" y="185258"/>
                  <a:pt x="0" y="143788"/>
                  <a:pt x="0" y="92629"/>
                </a:cubicBezTo>
                <a:cubicBezTo>
                  <a:pt x="0" y="41470"/>
                  <a:pt x="41770" y="0"/>
                  <a:pt x="93300" y="0"/>
                </a:cubicBezTo>
                <a:close/>
              </a:path>
            </a:pathLst>
          </a:custGeom>
          <a:solidFill>
            <a:schemeClr val="bg1"/>
          </a:solidFill>
        </p:spPr>
        <p:txBody>
          <a:bodyPr wrap="square">
            <a:noAutofit/>
          </a:bodyPr>
          <a:lstStyle>
            <a:lvl1pPr>
              <a:defRPr sz="100">
                <a:solidFill>
                  <a:schemeClr val="bg1">
                    <a:alpha val="0"/>
                  </a:schemeClr>
                </a:solidFill>
              </a:defRPr>
            </a:lvl1pPr>
          </a:lstStyle>
          <a:p>
            <a:pPr lvl="0"/>
            <a:r>
              <a:rPr lang="en-US"/>
              <a:t>Click to edit Master text styles</a:t>
            </a:r>
          </a:p>
        </p:txBody>
      </p:sp>
    </p:spTree>
    <p:extLst>
      <p:ext uri="{BB962C8B-B14F-4D97-AF65-F5344CB8AC3E}">
        <p14:creationId xmlns:p14="http://schemas.microsoft.com/office/powerpoint/2010/main" val="19927313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Title Slide Imag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823114C3-EDAA-984F-A7E5-1E563968A441}"/>
              </a:ext>
            </a:extLst>
          </p:cNvPr>
          <p:cNvSpPr>
            <a:spLocks noGrp="1"/>
          </p:cNvSpPr>
          <p:nvPr>
            <p:ph type="pic" sz="quarter" idx="10"/>
          </p:nvPr>
        </p:nvSpPr>
        <p:spPr>
          <a:xfrm>
            <a:off x="0" y="0"/>
            <a:ext cx="12192000" cy="3441700"/>
          </a:xfrm>
          <a:prstGeom prst="rect">
            <a:avLst/>
          </a:prstGeom>
          <a:solidFill>
            <a:schemeClr val="bg1">
              <a:lumMod val="95000"/>
            </a:schemeClr>
          </a:solidFill>
        </p:spPr>
        <p:txBody>
          <a:bodyPr/>
          <a:lstStyle>
            <a:lvl1pPr marL="0" indent="0">
              <a:buNone/>
              <a:defRPr sz="1200"/>
            </a:lvl1pPr>
          </a:lstStyle>
          <a:p>
            <a:r>
              <a:rPr lang="en-US"/>
              <a:t>Click icon to add picture</a:t>
            </a:r>
            <a:endParaRPr lang="en-US" dirty="0"/>
          </a:p>
        </p:txBody>
      </p:sp>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3876609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4B6E5172-0EAF-9541-B6B0-E49938BC848D}"/>
              </a:ext>
            </a:extLst>
          </p:cNvPr>
          <p:cNvSpPr>
            <a:spLocks noGrp="1"/>
          </p:cNvSpPr>
          <p:nvPr>
            <p:ph type="ctrTitle" hasCustomPrompt="1"/>
          </p:nvPr>
        </p:nvSpPr>
        <p:spPr>
          <a:xfrm>
            <a:off x="457198" y="3759716"/>
            <a:ext cx="9366251" cy="622714"/>
          </a:xfrm>
        </p:spPr>
        <p:txBody>
          <a:bodyPr vert="horz" anchor="t"/>
          <a:lstStyle>
            <a:lvl1pPr algn="l">
              <a:defRPr sz="5000">
                <a:solidFill>
                  <a:schemeClr val="tx1"/>
                </a:solidFill>
              </a:defRPr>
            </a:lvl1pPr>
          </a:lstStyle>
          <a:p>
            <a:r>
              <a:rPr lang="en-US" dirty="0"/>
              <a:t>Click to add presentation title</a:t>
            </a:r>
          </a:p>
        </p:txBody>
      </p:sp>
      <p:sp>
        <p:nvSpPr>
          <p:cNvPr id="11" name="Subtitle 2">
            <a:extLst>
              <a:ext uri="{FF2B5EF4-FFF2-40B4-BE49-F238E27FC236}">
                <a16:creationId xmlns:a16="http://schemas.microsoft.com/office/drawing/2014/main" id="{E3B28E96-F998-4145-AFD3-BC0901E28925}"/>
              </a:ext>
            </a:extLst>
          </p:cNvPr>
          <p:cNvSpPr>
            <a:spLocks noGrp="1"/>
          </p:cNvSpPr>
          <p:nvPr>
            <p:ph type="subTitle" idx="1" hasCustomPrompt="1"/>
          </p:nvPr>
        </p:nvSpPr>
        <p:spPr>
          <a:xfrm>
            <a:off x="457198" y="5368036"/>
            <a:ext cx="5638800" cy="228600"/>
          </a:xfrm>
          <a:prstGeom prst="rect">
            <a:avLst/>
          </a:prstGeom>
        </p:spPr>
        <p:txBody>
          <a:bodyPr/>
          <a:lstStyle>
            <a:lvl1pPr marL="0" indent="0" algn="l">
              <a:buNone/>
              <a:defRPr sz="18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7" name="Text Placeholder 11">
            <a:extLst>
              <a:ext uri="{FF2B5EF4-FFF2-40B4-BE49-F238E27FC236}">
                <a16:creationId xmlns:a16="http://schemas.microsoft.com/office/drawing/2014/main" id="{5BCB3DBE-7952-BD46-A5A1-E42AA39DD513}"/>
              </a:ext>
            </a:extLst>
          </p:cNvPr>
          <p:cNvSpPr>
            <a:spLocks noGrp="1"/>
          </p:cNvSpPr>
          <p:nvPr>
            <p:ph type="body" sz="quarter" idx="11" hasCustomPrompt="1"/>
          </p:nvPr>
        </p:nvSpPr>
        <p:spPr>
          <a:xfrm>
            <a:off x="457198" y="5596636"/>
            <a:ext cx="5638800" cy="224536"/>
          </a:xfrm>
          <a:prstGeom prst="rect">
            <a:avLst/>
          </a:prstGeom>
        </p:spPr>
        <p:txBody>
          <a:bodyPr/>
          <a:lstStyle>
            <a:lvl1pPr marL="0" indent="0">
              <a:lnSpc>
                <a:spcPct val="100000"/>
              </a:lnSpc>
              <a:buNone/>
              <a:defRPr sz="1800" b="0" i="0">
                <a:latin typeface="+mn-lt"/>
              </a:defRPr>
            </a:lvl1pPr>
          </a:lstStyle>
          <a:p>
            <a:pPr lvl="0"/>
            <a:r>
              <a:rPr lang="en-US" dirty="0"/>
              <a:t>Click to add date</a:t>
            </a:r>
          </a:p>
        </p:txBody>
      </p:sp>
      <p:pic>
        <p:nvPicPr>
          <p:cNvPr id="8" name="Graphic 7">
            <a:extLst>
              <a:ext uri="{FF2B5EF4-FFF2-40B4-BE49-F238E27FC236}">
                <a16:creationId xmlns:a16="http://schemas.microsoft.com/office/drawing/2014/main" id="{E93D552E-25B4-83DE-3786-7C4BEDCA0C59}"/>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93341" y="6156161"/>
            <a:ext cx="1785575" cy="384339"/>
          </a:xfrm>
          <a:prstGeom prst="rect">
            <a:avLst/>
          </a:prstGeom>
        </p:spPr>
      </p:pic>
    </p:spTree>
    <p:extLst>
      <p:ext uri="{BB962C8B-B14F-4D97-AF65-F5344CB8AC3E}">
        <p14:creationId xmlns:p14="http://schemas.microsoft.com/office/powerpoint/2010/main" val="4159047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Full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21101585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975EBB8B-1207-DF46-B0BB-2ECF56904B51}"/>
              </a:ext>
            </a:extLst>
          </p:cNvPr>
          <p:cNvSpPr>
            <a:spLocks noGrp="1"/>
          </p:cNvSpPr>
          <p:nvPr>
            <p:ph type="pic" sz="quarter" idx="10"/>
          </p:nvPr>
        </p:nvSpPr>
        <p:spPr>
          <a:xfrm>
            <a:off x="0" y="0"/>
            <a:ext cx="12192000" cy="6858000"/>
          </a:xfrm>
          <a:solidFill>
            <a:schemeClr val="bg1">
              <a:lumMod val="95000"/>
            </a:schemeClr>
          </a:solidFill>
        </p:spPr>
        <p:txBody>
          <a:bodyPr/>
          <a:lstStyle>
            <a:lvl1pPr marL="0" indent="0">
              <a:buNone/>
              <a:defRPr sz="1200"/>
            </a:lvl1pPr>
          </a:lstStyle>
          <a:p>
            <a:r>
              <a:rPr lang="en-US"/>
              <a:t>Click icon to add picture</a:t>
            </a:r>
            <a:endParaRPr lang="en-US" dirty="0"/>
          </a:p>
        </p:txBody>
      </p:sp>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415089" y="2635703"/>
            <a:ext cx="8349499" cy="1548385"/>
          </a:xfrm>
        </p:spPr>
        <p:txBody>
          <a:bodyPr vert="horz" anchor="b" anchorCtr="0"/>
          <a:lstStyle>
            <a:lvl1pPr algn="l">
              <a:defRPr sz="5200">
                <a:solidFill>
                  <a:schemeClr val="bg1"/>
                </a:solidFill>
              </a:defRPr>
            </a:lvl1pPr>
          </a:lstStyle>
          <a:p>
            <a:r>
              <a:rPr lang="en-US" dirty="0"/>
              <a:t>Click to add  </a:t>
            </a:r>
            <a:br>
              <a:rPr lang="en-US" dirty="0"/>
            </a:br>
            <a:r>
              <a:rPr lang="en-US" dirty="0"/>
              <a:t>presentation title</a:t>
            </a:r>
          </a:p>
        </p:txBody>
      </p:sp>
      <p:sp>
        <p:nvSpPr>
          <p:cNvPr id="7" name="Text Placeholder 11">
            <a:extLst>
              <a:ext uri="{FF2B5EF4-FFF2-40B4-BE49-F238E27FC236}">
                <a16:creationId xmlns:a16="http://schemas.microsoft.com/office/drawing/2014/main" id="{888294A5-A4D0-A14B-A725-86332813F126}"/>
              </a:ext>
            </a:extLst>
          </p:cNvPr>
          <p:cNvSpPr>
            <a:spLocks noGrp="1"/>
          </p:cNvSpPr>
          <p:nvPr>
            <p:ph type="body" sz="quarter" idx="11" hasCustomPrompt="1"/>
          </p:nvPr>
        </p:nvSpPr>
        <p:spPr>
          <a:xfrm>
            <a:off x="415089" y="4758997"/>
            <a:ext cx="5638800" cy="224536"/>
          </a:xfrm>
        </p:spPr>
        <p:txBody>
          <a:bodyPr vert="horz" lIns="0" tIns="0" rIns="0" bIns="0" rtlCol="0">
            <a:noAutofit/>
          </a:bodyPr>
          <a:lstStyle>
            <a:lvl1pPr>
              <a:defRPr lang="en-US" sz="1800" i="1" dirty="0">
                <a:solidFill>
                  <a:schemeClr val="bg1"/>
                </a:solidFill>
                <a:latin typeface="Elevance Sans Italic" pitchFamily="2" charset="0"/>
              </a:defRPr>
            </a:lvl1pPr>
          </a:lstStyle>
          <a:p>
            <a:pPr lvl="0"/>
            <a:r>
              <a:rPr lang="en-US" dirty="0"/>
              <a:t>Click to add date</a:t>
            </a:r>
          </a:p>
        </p:txBody>
      </p:sp>
      <p:sp>
        <p:nvSpPr>
          <p:cNvPr id="9" name="Subtitle 2">
            <a:extLst>
              <a:ext uri="{FF2B5EF4-FFF2-40B4-BE49-F238E27FC236}">
                <a16:creationId xmlns:a16="http://schemas.microsoft.com/office/drawing/2014/main" id="{5483F015-5D8D-2240-9F46-EE2695B6E53C}"/>
              </a:ext>
            </a:extLst>
          </p:cNvPr>
          <p:cNvSpPr>
            <a:spLocks noGrp="1"/>
          </p:cNvSpPr>
          <p:nvPr>
            <p:ph type="subTitle" idx="1" hasCustomPrompt="1"/>
          </p:nvPr>
        </p:nvSpPr>
        <p:spPr>
          <a:xfrm>
            <a:off x="415089" y="4517136"/>
            <a:ext cx="5638800" cy="228600"/>
          </a:xfrm>
        </p:spPr>
        <p:txBody>
          <a:bodyPr/>
          <a:lstStyle>
            <a:lvl1pPr marL="0" indent="0" algn="l">
              <a:buNone/>
              <a:defRPr sz="1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0" name="Text Placeholder 9">
            <a:extLst>
              <a:ext uri="{FF2B5EF4-FFF2-40B4-BE49-F238E27FC236}">
                <a16:creationId xmlns:a16="http://schemas.microsoft.com/office/drawing/2014/main" id="{6E879377-5C16-FAC6-29B4-F10D03555B56}"/>
              </a:ext>
            </a:extLst>
          </p:cNvPr>
          <p:cNvSpPr>
            <a:spLocks noGrp="1"/>
          </p:cNvSpPr>
          <p:nvPr>
            <p:ph type="body" sz="quarter" idx="14"/>
          </p:nvPr>
        </p:nvSpPr>
        <p:spPr>
          <a:xfrm>
            <a:off x="9993856" y="578424"/>
            <a:ext cx="1778688" cy="383935"/>
          </a:xfrm>
          <a:custGeom>
            <a:avLst/>
            <a:gdLst>
              <a:gd name="connsiteX0" fmla="*/ 1758931 w 1778688"/>
              <a:gd name="connsiteY0" fmla="*/ 270064 h 383935"/>
              <a:gd name="connsiteX1" fmla="*/ 1765112 w 1778688"/>
              <a:gd name="connsiteY1" fmla="*/ 270064 h 383935"/>
              <a:gd name="connsiteX2" fmla="*/ 1768824 w 1778688"/>
              <a:gd name="connsiteY2" fmla="*/ 284017 h 383935"/>
              <a:gd name="connsiteX3" fmla="*/ 1772493 w 1778688"/>
              <a:gd name="connsiteY3" fmla="*/ 270064 h 383935"/>
              <a:gd name="connsiteX4" fmla="*/ 1778688 w 1778688"/>
              <a:gd name="connsiteY4" fmla="*/ 270064 h 383935"/>
              <a:gd name="connsiteX5" fmla="*/ 1778688 w 1778688"/>
              <a:gd name="connsiteY5" fmla="*/ 290519 h 383935"/>
              <a:gd name="connsiteX6" fmla="*/ 1774851 w 1778688"/>
              <a:gd name="connsiteY6" fmla="*/ 290519 h 383935"/>
              <a:gd name="connsiteX7" fmla="*/ 1774851 w 1778688"/>
              <a:gd name="connsiteY7" fmla="*/ 274418 h 383935"/>
              <a:gd name="connsiteX8" fmla="*/ 1770791 w 1778688"/>
              <a:gd name="connsiteY8" fmla="*/ 290519 h 383935"/>
              <a:gd name="connsiteX9" fmla="*/ 1766815 w 1778688"/>
              <a:gd name="connsiteY9" fmla="*/ 290519 h 383935"/>
              <a:gd name="connsiteX10" fmla="*/ 1762768 w 1778688"/>
              <a:gd name="connsiteY10" fmla="*/ 274418 h 383935"/>
              <a:gd name="connsiteX11" fmla="*/ 1762768 w 1778688"/>
              <a:gd name="connsiteY11" fmla="*/ 290519 h 383935"/>
              <a:gd name="connsiteX12" fmla="*/ 1758931 w 1778688"/>
              <a:gd name="connsiteY12" fmla="*/ 290519 h 383935"/>
              <a:gd name="connsiteX13" fmla="*/ 1747095 w 1778688"/>
              <a:gd name="connsiteY13" fmla="*/ 269716 h 383935"/>
              <a:gd name="connsiteX14" fmla="*/ 1752892 w 1778688"/>
              <a:gd name="connsiteY14" fmla="*/ 271404 h 383935"/>
              <a:gd name="connsiteX15" fmla="*/ 1754936 w 1778688"/>
              <a:gd name="connsiteY15" fmla="*/ 275911 h 383935"/>
              <a:gd name="connsiteX16" fmla="*/ 1750806 w 1778688"/>
              <a:gd name="connsiteY16" fmla="*/ 276092 h 383935"/>
              <a:gd name="connsiteX17" fmla="*/ 1749669 w 1778688"/>
              <a:gd name="connsiteY17" fmla="*/ 273825 h 383935"/>
              <a:gd name="connsiteX18" fmla="*/ 1747053 w 1778688"/>
              <a:gd name="connsiteY18" fmla="*/ 273134 h 383935"/>
              <a:gd name="connsiteX19" fmla="*/ 1744234 w 1778688"/>
              <a:gd name="connsiteY19" fmla="*/ 273874 h 383935"/>
              <a:gd name="connsiteX20" fmla="*/ 1743579 w 1778688"/>
              <a:gd name="connsiteY20" fmla="*/ 275143 h 383935"/>
              <a:gd name="connsiteX21" fmla="*/ 1744193 w 1778688"/>
              <a:gd name="connsiteY21" fmla="*/ 276385 h 383935"/>
              <a:gd name="connsiteX22" fmla="*/ 1747988 w 1778688"/>
              <a:gd name="connsiteY22" fmla="*/ 277752 h 383935"/>
              <a:gd name="connsiteX23" fmla="*/ 1752446 w 1778688"/>
              <a:gd name="connsiteY23" fmla="*/ 279224 h 383935"/>
              <a:gd name="connsiteX24" fmla="*/ 1754706 w 1778688"/>
              <a:gd name="connsiteY24" fmla="*/ 281303 h 383935"/>
              <a:gd name="connsiteX25" fmla="*/ 1755522 w 1778688"/>
              <a:gd name="connsiteY25" fmla="*/ 284561 h 383935"/>
              <a:gd name="connsiteX26" fmla="*/ 1754545 w 1778688"/>
              <a:gd name="connsiteY26" fmla="*/ 287854 h 383935"/>
              <a:gd name="connsiteX27" fmla="*/ 1751783 w 1778688"/>
              <a:gd name="connsiteY27" fmla="*/ 290135 h 383935"/>
              <a:gd name="connsiteX28" fmla="*/ 1747332 w 1778688"/>
              <a:gd name="connsiteY28" fmla="*/ 290882 h 383935"/>
              <a:gd name="connsiteX29" fmla="*/ 1741374 w 1778688"/>
              <a:gd name="connsiteY29" fmla="*/ 289089 h 383935"/>
              <a:gd name="connsiteX30" fmla="*/ 1738891 w 1778688"/>
              <a:gd name="connsiteY30" fmla="*/ 283864 h 383935"/>
              <a:gd name="connsiteX31" fmla="*/ 1742909 w 1778688"/>
              <a:gd name="connsiteY31" fmla="*/ 283473 h 383935"/>
              <a:gd name="connsiteX32" fmla="*/ 1744381 w 1778688"/>
              <a:gd name="connsiteY32" fmla="*/ 286445 h 383935"/>
              <a:gd name="connsiteX33" fmla="*/ 1747374 w 1778688"/>
              <a:gd name="connsiteY33" fmla="*/ 287394 h 383935"/>
              <a:gd name="connsiteX34" fmla="*/ 1750381 w 1778688"/>
              <a:gd name="connsiteY34" fmla="*/ 286550 h 383935"/>
              <a:gd name="connsiteX35" fmla="*/ 1751392 w 1778688"/>
              <a:gd name="connsiteY35" fmla="*/ 284575 h 383935"/>
              <a:gd name="connsiteX36" fmla="*/ 1750967 w 1778688"/>
              <a:gd name="connsiteY36" fmla="*/ 283340 h 383935"/>
              <a:gd name="connsiteX37" fmla="*/ 1749481 w 1778688"/>
              <a:gd name="connsiteY37" fmla="*/ 282454 h 383935"/>
              <a:gd name="connsiteX38" fmla="*/ 1746174 w 1778688"/>
              <a:gd name="connsiteY38" fmla="*/ 281561 h 383935"/>
              <a:gd name="connsiteX39" fmla="*/ 1741514 w 1778688"/>
              <a:gd name="connsiteY39" fmla="*/ 279538 h 383935"/>
              <a:gd name="connsiteX40" fmla="*/ 1739630 w 1778688"/>
              <a:gd name="connsiteY40" fmla="*/ 275422 h 383935"/>
              <a:gd name="connsiteX41" fmla="*/ 1740516 w 1778688"/>
              <a:gd name="connsiteY41" fmla="*/ 272499 h 383935"/>
              <a:gd name="connsiteX42" fmla="*/ 1743069 w 1778688"/>
              <a:gd name="connsiteY42" fmla="*/ 270427 h 383935"/>
              <a:gd name="connsiteX43" fmla="*/ 1747095 w 1778688"/>
              <a:gd name="connsiteY43" fmla="*/ 269716 h 383935"/>
              <a:gd name="connsiteX44" fmla="*/ 1415465 w 1778688"/>
              <a:gd name="connsiteY44" fmla="*/ 138005 h 383935"/>
              <a:gd name="connsiteX45" fmla="*/ 1361597 w 1778688"/>
              <a:gd name="connsiteY45" fmla="*/ 195655 h 383935"/>
              <a:gd name="connsiteX46" fmla="*/ 1415465 w 1778688"/>
              <a:gd name="connsiteY46" fmla="*/ 253724 h 383935"/>
              <a:gd name="connsiteX47" fmla="*/ 1468492 w 1778688"/>
              <a:gd name="connsiteY47" fmla="*/ 195655 h 383935"/>
              <a:gd name="connsiteX48" fmla="*/ 1415465 w 1778688"/>
              <a:gd name="connsiteY48" fmla="*/ 138005 h 383935"/>
              <a:gd name="connsiteX49" fmla="*/ 743459 w 1778688"/>
              <a:gd name="connsiteY49" fmla="*/ 138005 h 383935"/>
              <a:gd name="connsiteX50" fmla="*/ 689592 w 1778688"/>
              <a:gd name="connsiteY50" fmla="*/ 195655 h 383935"/>
              <a:gd name="connsiteX51" fmla="*/ 743459 w 1778688"/>
              <a:gd name="connsiteY51" fmla="*/ 253724 h 383935"/>
              <a:gd name="connsiteX52" fmla="*/ 796486 w 1778688"/>
              <a:gd name="connsiteY52" fmla="*/ 195655 h 383935"/>
              <a:gd name="connsiteX53" fmla="*/ 743459 w 1778688"/>
              <a:gd name="connsiteY53" fmla="*/ 138005 h 383935"/>
              <a:gd name="connsiteX54" fmla="*/ 262734 w 1778688"/>
              <a:gd name="connsiteY54" fmla="*/ 137498 h 383935"/>
              <a:gd name="connsiteX55" fmla="*/ 274738 w 1778688"/>
              <a:gd name="connsiteY55" fmla="*/ 143636 h 383935"/>
              <a:gd name="connsiteX56" fmla="*/ 293344 w 1778688"/>
              <a:gd name="connsiteY56" fmla="*/ 146913 h 383935"/>
              <a:gd name="connsiteX57" fmla="*/ 274648 w 1778688"/>
              <a:gd name="connsiteY57" fmla="*/ 191961 h 383935"/>
              <a:gd name="connsiteX58" fmla="*/ 279029 w 1778688"/>
              <a:gd name="connsiteY58" fmla="*/ 199767 h 383935"/>
              <a:gd name="connsiteX59" fmla="*/ 293434 w 1778688"/>
              <a:gd name="connsiteY59" fmla="*/ 198665 h 383935"/>
              <a:gd name="connsiteX60" fmla="*/ 308889 w 1778688"/>
              <a:gd name="connsiteY60" fmla="*/ 199946 h 383935"/>
              <a:gd name="connsiteX61" fmla="*/ 385447 w 1778688"/>
              <a:gd name="connsiteY61" fmla="*/ 306637 h 383935"/>
              <a:gd name="connsiteX62" fmla="*/ 277979 w 1778688"/>
              <a:gd name="connsiteY62" fmla="*/ 382641 h 383935"/>
              <a:gd name="connsiteX63" fmla="*/ 201424 w 1778688"/>
              <a:gd name="connsiteY63" fmla="*/ 275950 h 383935"/>
              <a:gd name="connsiteX64" fmla="*/ 238756 w 1778688"/>
              <a:gd name="connsiteY64" fmla="*/ 291204 h 383935"/>
              <a:gd name="connsiteX65" fmla="*/ 248297 w 1778688"/>
              <a:gd name="connsiteY65" fmla="*/ 321925 h 383935"/>
              <a:gd name="connsiteX66" fmla="*/ 324254 w 1778688"/>
              <a:gd name="connsiteY66" fmla="*/ 336080 h 383935"/>
              <a:gd name="connsiteX67" fmla="*/ 338512 w 1778688"/>
              <a:gd name="connsiteY67" fmla="*/ 260669 h 383935"/>
              <a:gd name="connsiteX68" fmla="*/ 262554 w 1778688"/>
              <a:gd name="connsiteY68" fmla="*/ 246514 h 383935"/>
              <a:gd name="connsiteX69" fmla="*/ 240077 w 1778688"/>
              <a:gd name="connsiteY69" fmla="*/ 191961 h 383935"/>
              <a:gd name="connsiteX70" fmla="*/ 1113718 w 1778688"/>
              <a:gd name="connsiteY70" fmla="*/ 133387 h 383935"/>
              <a:gd name="connsiteX71" fmla="*/ 1064532 w 1778688"/>
              <a:gd name="connsiteY71" fmla="*/ 176439 h 383935"/>
              <a:gd name="connsiteX72" fmla="*/ 1161733 w 1778688"/>
              <a:gd name="connsiteY72" fmla="*/ 176439 h 383935"/>
              <a:gd name="connsiteX73" fmla="*/ 1113718 w 1778688"/>
              <a:gd name="connsiteY73" fmla="*/ 133387 h 383935"/>
              <a:gd name="connsiteX74" fmla="*/ 1651972 w 1778688"/>
              <a:gd name="connsiteY74" fmla="*/ 89947 h 383935"/>
              <a:gd name="connsiteX75" fmla="*/ 1728556 w 1778688"/>
              <a:gd name="connsiteY75" fmla="*/ 174770 h 383935"/>
              <a:gd name="connsiteX76" fmla="*/ 1728556 w 1778688"/>
              <a:gd name="connsiteY76" fmla="*/ 295911 h 383935"/>
              <a:gd name="connsiteX77" fmla="*/ 1677210 w 1778688"/>
              <a:gd name="connsiteY77" fmla="*/ 295911 h 383935"/>
              <a:gd name="connsiteX78" fmla="*/ 1677210 w 1778688"/>
              <a:gd name="connsiteY78" fmla="*/ 182278 h 383935"/>
              <a:gd name="connsiteX79" fmla="*/ 1636397 w 1778688"/>
              <a:gd name="connsiteY79" fmla="*/ 138005 h 383935"/>
              <a:gd name="connsiteX80" fmla="*/ 1595163 w 1778688"/>
              <a:gd name="connsiteY80" fmla="*/ 182278 h 383935"/>
              <a:gd name="connsiteX81" fmla="*/ 1595163 w 1778688"/>
              <a:gd name="connsiteY81" fmla="*/ 295911 h 383935"/>
              <a:gd name="connsiteX82" fmla="*/ 1543817 w 1778688"/>
              <a:gd name="connsiteY82" fmla="*/ 295911 h 383935"/>
              <a:gd name="connsiteX83" fmla="*/ 1543817 w 1778688"/>
              <a:gd name="connsiteY83" fmla="*/ 95787 h 383935"/>
              <a:gd name="connsiteX84" fmla="*/ 1595163 w 1778688"/>
              <a:gd name="connsiteY84" fmla="*/ 95787 h 383935"/>
              <a:gd name="connsiteX85" fmla="*/ 1595163 w 1778688"/>
              <a:gd name="connsiteY85" fmla="*/ 115421 h 383935"/>
              <a:gd name="connsiteX86" fmla="*/ 1651972 w 1778688"/>
              <a:gd name="connsiteY86" fmla="*/ 89947 h 383935"/>
              <a:gd name="connsiteX87" fmla="*/ 1415045 w 1778688"/>
              <a:gd name="connsiteY87" fmla="*/ 89947 h 383935"/>
              <a:gd name="connsiteX88" fmla="*/ 1520259 w 1778688"/>
              <a:gd name="connsiteY88" fmla="*/ 196073 h 383935"/>
              <a:gd name="connsiteX89" fmla="*/ 1415168 w 1778688"/>
              <a:gd name="connsiteY89" fmla="*/ 301781 h 383935"/>
              <a:gd name="connsiteX90" fmla="*/ 1415045 w 1778688"/>
              <a:gd name="connsiteY90" fmla="*/ 301781 h 383935"/>
              <a:gd name="connsiteX91" fmla="*/ 1310281 w 1778688"/>
              <a:gd name="connsiteY91" fmla="*/ 196073 h 383935"/>
              <a:gd name="connsiteX92" fmla="*/ 1415045 w 1778688"/>
              <a:gd name="connsiteY92" fmla="*/ 89947 h 383935"/>
              <a:gd name="connsiteX93" fmla="*/ 1112908 w 1778688"/>
              <a:gd name="connsiteY93" fmla="*/ 89947 h 383935"/>
              <a:gd name="connsiteX94" fmla="*/ 1214340 w 1778688"/>
              <a:gd name="connsiteY94" fmla="*/ 191902 h 383935"/>
              <a:gd name="connsiteX95" fmla="*/ 1213080 w 1778688"/>
              <a:gd name="connsiteY95" fmla="*/ 208616 h 383935"/>
              <a:gd name="connsiteX96" fmla="*/ 1063692 w 1778688"/>
              <a:gd name="connsiteY96" fmla="*/ 208616 h 383935"/>
              <a:gd name="connsiteX97" fmla="*/ 1121340 w 1778688"/>
              <a:gd name="connsiteY97" fmla="*/ 256643 h 383935"/>
              <a:gd name="connsiteX98" fmla="*/ 1170586 w 1778688"/>
              <a:gd name="connsiteY98" fmla="*/ 235788 h 383935"/>
              <a:gd name="connsiteX99" fmla="*/ 1197085 w 1778688"/>
              <a:gd name="connsiteY99" fmla="*/ 270468 h 383935"/>
              <a:gd name="connsiteX100" fmla="*/ 1119240 w 1778688"/>
              <a:gd name="connsiteY100" fmla="*/ 301811 h 383935"/>
              <a:gd name="connsiteX101" fmla="*/ 1011085 w 1778688"/>
              <a:gd name="connsiteY101" fmla="*/ 196073 h 383935"/>
              <a:gd name="connsiteX102" fmla="*/ 1112908 w 1778688"/>
              <a:gd name="connsiteY102" fmla="*/ 89947 h 383935"/>
              <a:gd name="connsiteX103" fmla="*/ 735056 w 1778688"/>
              <a:gd name="connsiteY103" fmla="*/ 89947 h 383935"/>
              <a:gd name="connsiteX104" fmla="*/ 796486 w 1778688"/>
              <a:gd name="connsiteY104" fmla="*/ 115838 h 383935"/>
              <a:gd name="connsiteX105" fmla="*/ 796486 w 1778688"/>
              <a:gd name="connsiteY105" fmla="*/ 95787 h 383935"/>
              <a:gd name="connsiteX106" fmla="*/ 848253 w 1778688"/>
              <a:gd name="connsiteY106" fmla="*/ 95787 h 383935"/>
              <a:gd name="connsiteX107" fmla="*/ 848253 w 1778688"/>
              <a:gd name="connsiteY107" fmla="*/ 295911 h 383935"/>
              <a:gd name="connsiteX108" fmla="*/ 796486 w 1778688"/>
              <a:gd name="connsiteY108" fmla="*/ 295911 h 383935"/>
              <a:gd name="connsiteX109" fmla="*/ 796486 w 1778688"/>
              <a:gd name="connsiteY109" fmla="*/ 274192 h 383935"/>
              <a:gd name="connsiteX110" fmla="*/ 735056 w 1778688"/>
              <a:gd name="connsiteY110" fmla="*/ 301781 h 383935"/>
              <a:gd name="connsiteX111" fmla="*/ 638245 w 1778688"/>
              <a:gd name="connsiteY111" fmla="*/ 196073 h 383935"/>
              <a:gd name="connsiteX112" fmla="*/ 735056 w 1778688"/>
              <a:gd name="connsiteY112" fmla="*/ 89947 h 383935"/>
              <a:gd name="connsiteX113" fmla="*/ 556409 w 1778688"/>
              <a:gd name="connsiteY113" fmla="*/ 89947 h 383935"/>
              <a:gd name="connsiteX114" fmla="*/ 635935 w 1778688"/>
              <a:gd name="connsiteY114" fmla="*/ 120039 h 383935"/>
              <a:gd name="connsiteX115" fmla="*/ 606465 w 1778688"/>
              <a:gd name="connsiteY115" fmla="*/ 156387 h 383935"/>
              <a:gd name="connsiteX116" fmla="*/ 558930 w 1778688"/>
              <a:gd name="connsiteY116" fmla="*/ 138005 h 383935"/>
              <a:gd name="connsiteX117" fmla="*/ 502542 w 1778688"/>
              <a:gd name="connsiteY117" fmla="*/ 195655 h 383935"/>
              <a:gd name="connsiteX118" fmla="*/ 558510 w 1778688"/>
              <a:gd name="connsiteY118" fmla="*/ 253724 h 383935"/>
              <a:gd name="connsiteX119" fmla="*/ 608146 w 1778688"/>
              <a:gd name="connsiteY119" fmla="*/ 234089 h 383935"/>
              <a:gd name="connsiteX120" fmla="*/ 634254 w 1778688"/>
              <a:gd name="connsiteY120" fmla="*/ 271689 h 383935"/>
              <a:gd name="connsiteX121" fmla="*/ 557249 w 1778688"/>
              <a:gd name="connsiteY121" fmla="*/ 301781 h 383935"/>
              <a:gd name="connsiteX122" fmla="*/ 451192 w 1778688"/>
              <a:gd name="connsiteY122" fmla="*/ 197148 h 383935"/>
              <a:gd name="connsiteX123" fmla="*/ 451195 w 1778688"/>
              <a:gd name="connsiteY123" fmla="*/ 196073 h 383935"/>
              <a:gd name="connsiteX124" fmla="*/ 556409 w 1778688"/>
              <a:gd name="connsiteY124" fmla="*/ 89947 h 383935"/>
              <a:gd name="connsiteX125" fmla="*/ 985847 w 1778688"/>
              <a:gd name="connsiteY125" fmla="*/ 89888 h 383935"/>
              <a:gd name="connsiteX126" fmla="*/ 1018258 w 1778688"/>
              <a:gd name="connsiteY126" fmla="*/ 99928 h 383935"/>
              <a:gd name="connsiteX127" fmla="*/ 996771 w 1778688"/>
              <a:gd name="connsiteY127" fmla="*/ 148373 h 383935"/>
              <a:gd name="connsiteX128" fmla="*/ 970272 w 1778688"/>
              <a:gd name="connsiteY128" fmla="*/ 139613 h 383935"/>
              <a:gd name="connsiteX129" fmla="*/ 936602 w 1778688"/>
              <a:gd name="connsiteY129" fmla="*/ 183887 h 383935"/>
              <a:gd name="connsiteX130" fmla="*/ 936602 w 1778688"/>
              <a:gd name="connsiteY130" fmla="*/ 295911 h 383935"/>
              <a:gd name="connsiteX131" fmla="*/ 885285 w 1778688"/>
              <a:gd name="connsiteY131" fmla="*/ 295911 h 383935"/>
              <a:gd name="connsiteX132" fmla="*/ 885285 w 1778688"/>
              <a:gd name="connsiteY132" fmla="*/ 95787 h 383935"/>
              <a:gd name="connsiteX133" fmla="*/ 936602 w 1778688"/>
              <a:gd name="connsiteY133" fmla="*/ 95787 h 383935"/>
              <a:gd name="connsiteX134" fmla="*/ 936602 w 1778688"/>
              <a:gd name="connsiteY134" fmla="*/ 117477 h 383935"/>
              <a:gd name="connsiteX135" fmla="*/ 985847 w 1778688"/>
              <a:gd name="connsiteY135" fmla="*/ 89888 h 383935"/>
              <a:gd name="connsiteX136" fmla="*/ 1235377 w 1778688"/>
              <a:gd name="connsiteY136" fmla="*/ 8491 h 383935"/>
              <a:gd name="connsiteX137" fmla="*/ 1286724 w 1778688"/>
              <a:gd name="connsiteY137" fmla="*/ 8491 h 383935"/>
              <a:gd name="connsiteX138" fmla="*/ 1286724 w 1778688"/>
              <a:gd name="connsiteY138" fmla="*/ 295912 h 383935"/>
              <a:gd name="connsiteX139" fmla="*/ 1235377 w 1778688"/>
              <a:gd name="connsiteY139" fmla="*/ 295912 h 383935"/>
              <a:gd name="connsiteX140" fmla="*/ 93300 w 1778688"/>
              <a:gd name="connsiteY140" fmla="*/ 0 h 383935"/>
              <a:gd name="connsiteX141" fmla="*/ 93300 w 1778688"/>
              <a:gd name="connsiteY141" fmla="*/ 30 h 383935"/>
              <a:gd name="connsiteX142" fmla="*/ 109343 w 1778688"/>
              <a:gd name="connsiteY142" fmla="*/ 1359 h 383935"/>
              <a:gd name="connsiteX143" fmla="*/ 184225 w 1778688"/>
              <a:gd name="connsiteY143" fmla="*/ 71343 h 383935"/>
              <a:gd name="connsiteX144" fmla="*/ 185309 w 1778688"/>
              <a:gd name="connsiteY144" fmla="*/ 107978 h 383935"/>
              <a:gd name="connsiteX145" fmla="*/ 193382 w 1778688"/>
              <a:gd name="connsiteY145" fmla="*/ 111280 h 383935"/>
              <a:gd name="connsiteX146" fmla="*/ 201244 w 1778688"/>
              <a:gd name="connsiteY146" fmla="*/ 106930 h 383935"/>
              <a:gd name="connsiteX147" fmla="*/ 200134 w 1778688"/>
              <a:gd name="connsiteY147" fmla="*/ 92629 h 383935"/>
              <a:gd name="connsiteX148" fmla="*/ 293434 w 1778688"/>
              <a:gd name="connsiteY148" fmla="*/ 0 h 383935"/>
              <a:gd name="connsiteX149" fmla="*/ 293434 w 1778688"/>
              <a:gd name="connsiteY149" fmla="*/ 149 h 383935"/>
              <a:gd name="connsiteX150" fmla="*/ 308877 w 1778688"/>
              <a:gd name="connsiteY150" fmla="*/ 1431 h 383935"/>
              <a:gd name="connsiteX151" fmla="*/ 385423 w 1778688"/>
              <a:gd name="connsiteY151" fmla="*/ 108131 h 383935"/>
              <a:gd name="connsiteX152" fmla="*/ 277949 w 1778688"/>
              <a:gd name="connsiteY152" fmla="*/ 184126 h 383935"/>
              <a:gd name="connsiteX153" fmla="*/ 293344 w 1778688"/>
              <a:gd name="connsiteY153" fmla="*/ 147062 h 383935"/>
              <a:gd name="connsiteX154" fmla="*/ 324287 w 1778688"/>
              <a:gd name="connsiteY154" fmla="*/ 137591 h 383935"/>
              <a:gd name="connsiteX155" fmla="*/ 338544 w 1778688"/>
              <a:gd name="connsiteY155" fmla="*/ 62180 h 383935"/>
              <a:gd name="connsiteX156" fmla="*/ 262587 w 1778688"/>
              <a:gd name="connsiteY156" fmla="*/ 48025 h 383935"/>
              <a:gd name="connsiteX157" fmla="*/ 248329 w 1778688"/>
              <a:gd name="connsiteY157" fmla="*/ 123436 h 383935"/>
              <a:gd name="connsiteX158" fmla="*/ 193382 w 1778688"/>
              <a:gd name="connsiteY158" fmla="*/ 145602 h 383935"/>
              <a:gd name="connsiteX159" fmla="*/ 138524 w 1778688"/>
              <a:gd name="connsiteY159" fmla="*/ 123168 h 383935"/>
              <a:gd name="connsiteX160" fmla="*/ 148003 w 1778688"/>
              <a:gd name="connsiteY160" fmla="*/ 92731 h 383935"/>
              <a:gd name="connsiteX161" fmla="*/ 138468 w 1778688"/>
              <a:gd name="connsiteY161" fmla="*/ 62028 h 383935"/>
              <a:gd name="connsiteX162" fmla="*/ 62510 w 1778688"/>
              <a:gd name="connsiteY162" fmla="*/ 47873 h 383935"/>
              <a:gd name="connsiteX163" fmla="*/ 48253 w 1778688"/>
              <a:gd name="connsiteY163" fmla="*/ 123284 h 383935"/>
              <a:gd name="connsiteX164" fmla="*/ 124210 w 1778688"/>
              <a:gd name="connsiteY164" fmla="*/ 137439 h 383935"/>
              <a:gd name="connsiteX165" fmla="*/ 146657 w 1778688"/>
              <a:gd name="connsiteY165" fmla="*/ 191961 h 383935"/>
              <a:gd name="connsiteX166" fmla="*/ 124000 w 1778688"/>
              <a:gd name="connsiteY166" fmla="*/ 246424 h 383935"/>
              <a:gd name="connsiteX167" fmla="*/ 111996 w 1778688"/>
              <a:gd name="connsiteY167" fmla="*/ 240287 h 383935"/>
              <a:gd name="connsiteX168" fmla="*/ 93390 w 1778688"/>
              <a:gd name="connsiteY168" fmla="*/ 237009 h 383935"/>
              <a:gd name="connsiteX169" fmla="*/ 62447 w 1778688"/>
              <a:gd name="connsiteY169" fmla="*/ 246480 h 383935"/>
              <a:gd name="connsiteX170" fmla="*/ 48189 w 1778688"/>
              <a:gd name="connsiteY170" fmla="*/ 321891 h 383935"/>
              <a:gd name="connsiteX171" fmla="*/ 124147 w 1778688"/>
              <a:gd name="connsiteY171" fmla="*/ 336046 h 383935"/>
              <a:gd name="connsiteX172" fmla="*/ 138404 w 1778688"/>
              <a:gd name="connsiteY172" fmla="*/ 260635 h 383935"/>
              <a:gd name="connsiteX173" fmla="*/ 193382 w 1778688"/>
              <a:gd name="connsiteY173" fmla="*/ 238320 h 383935"/>
              <a:gd name="connsiteX174" fmla="*/ 248210 w 1778688"/>
              <a:gd name="connsiteY174" fmla="*/ 260754 h 383935"/>
              <a:gd name="connsiteX175" fmla="*/ 238757 w 1778688"/>
              <a:gd name="connsiteY175" fmla="*/ 291203 h 383935"/>
              <a:gd name="connsiteX176" fmla="*/ 193382 w 1778688"/>
              <a:gd name="connsiteY176" fmla="*/ 272642 h 383935"/>
              <a:gd name="connsiteX177" fmla="*/ 185519 w 1778688"/>
              <a:gd name="connsiteY177" fmla="*/ 276992 h 383935"/>
              <a:gd name="connsiteX178" fmla="*/ 185351 w 1778688"/>
              <a:gd name="connsiteY178" fmla="*/ 306526 h 383935"/>
              <a:gd name="connsiteX179" fmla="*/ 77998 w 1778688"/>
              <a:gd name="connsiteY179" fmla="*/ 382542 h 383935"/>
              <a:gd name="connsiteX180" fmla="*/ 1431 w 1778688"/>
              <a:gd name="connsiteY180" fmla="*/ 275961 h 383935"/>
              <a:gd name="connsiteX181" fmla="*/ 71780 w 1778688"/>
              <a:gd name="connsiteY181" fmla="*/ 201171 h 383935"/>
              <a:gd name="connsiteX182" fmla="*/ 108762 w 1778688"/>
              <a:gd name="connsiteY182" fmla="*/ 199946 h 383935"/>
              <a:gd name="connsiteX183" fmla="*/ 112086 w 1778688"/>
              <a:gd name="connsiteY183" fmla="*/ 191932 h 383935"/>
              <a:gd name="connsiteX184" fmla="*/ 107705 w 1778688"/>
              <a:gd name="connsiteY184" fmla="*/ 184155 h 383935"/>
              <a:gd name="connsiteX185" fmla="*/ 93300 w 1778688"/>
              <a:gd name="connsiteY185" fmla="*/ 185258 h 383935"/>
              <a:gd name="connsiteX186" fmla="*/ 0 w 1778688"/>
              <a:gd name="connsiteY186" fmla="*/ 92629 h 383935"/>
              <a:gd name="connsiteX187" fmla="*/ 93300 w 1778688"/>
              <a:gd name="connsiteY187" fmla="*/ 0 h 383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1778688" h="383935">
                <a:moveTo>
                  <a:pt x="1758931" y="270064"/>
                </a:moveTo>
                <a:lnTo>
                  <a:pt x="1765112" y="270064"/>
                </a:lnTo>
                <a:lnTo>
                  <a:pt x="1768824" y="284017"/>
                </a:lnTo>
                <a:lnTo>
                  <a:pt x="1772493" y="270064"/>
                </a:lnTo>
                <a:lnTo>
                  <a:pt x="1778688" y="270064"/>
                </a:lnTo>
                <a:lnTo>
                  <a:pt x="1778688" y="290519"/>
                </a:lnTo>
                <a:lnTo>
                  <a:pt x="1774851" y="290519"/>
                </a:lnTo>
                <a:lnTo>
                  <a:pt x="1774851" y="274418"/>
                </a:lnTo>
                <a:lnTo>
                  <a:pt x="1770791" y="290519"/>
                </a:lnTo>
                <a:lnTo>
                  <a:pt x="1766815" y="290519"/>
                </a:lnTo>
                <a:lnTo>
                  <a:pt x="1762768" y="274418"/>
                </a:lnTo>
                <a:lnTo>
                  <a:pt x="1762768" y="290519"/>
                </a:lnTo>
                <a:lnTo>
                  <a:pt x="1758931" y="290519"/>
                </a:lnTo>
                <a:close/>
                <a:moveTo>
                  <a:pt x="1747095" y="269716"/>
                </a:moveTo>
                <a:cubicBezTo>
                  <a:pt x="1749662" y="269716"/>
                  <a:pt x="1751594" y="270278"/>
                  <a:pt x="1752892" y="271404"/>
                </a:cubicBezTo>
                <a:cubicBezTo>
                  <a:pt x="1754190" y="272529"/>
                  <a:pt x="1754871" y="274032"/>
                  <a:pt x="1754936" y="275911"/>
                </a:cubicBezTo>
                <a:lnTo>
                  <a:pt x="1750806" y="276092"/>
                </a:lnTo>
                <a:cubicBezTo>
                  <a:pt x="1750629" y="275041"/>
                  <a:pt x="1750250" y="274285"/>
                  <a:pt x="1749669" y="273825"/>
                </a:cubicBezTo>
                <a:cubicBezTo>
                  <a:pt x="1749088" y="273364"/>
                  <a:pt x="1748216" y="273134"/>
                  <a:pt x="1747053" y="273134"/>
                </a:cubicBezTo>
                <a:cubicBezTo>
                  <a:pt x="1745853" y="273134"/>
                  <a:pt x="1744914" y="273381"/>
                  <a:pt x="1744234" y="273874"/>
                </a:cubicBezTo>
                <a:cubicBezTo>
                  <a:pt x="1743797" y="274190"/>
                  <a:pt x="1743579" y="274613"/>
                  <a:pt x="1743579" y="275143"/>
                </a:cubicBezTo>
                <a:cubicBezTo>
                  <a:pt x="1743579" y="275627"/>
                  <a:pt x="1743783" y="276041"/>
                  <a:pt x="1744193" y="276385"/>
                </a:cubicBezTo>
                <a:cubicBezTo>
                  <a:pt x="1744714" y="276822"/>
                  <a:pt x="1745979" y="277278"/>
                  <a:pt x="1747988" y="277752"/>
                </a:cubicBezTo>
                <a:cubicBezTo>
                  <a:pt x="1749997" y="278227"/>
                  <a:pt x="1751483" y="278717"/>
                  <a:pt x="1752446" y="279224"/>
                </a:cubicBezTo>
                <a:cubicBezTo>
                  <a:pt x="1753408" y="279731"/>
                  <a:pt x="1754162" y="280424"/>
                  <a:pt x="1754706" y="281303"/>
                </a:cubicBezTo>
                <a:cubicBezTo>
                  <a:pt x="1755250" y="282182"/>
                  <a:pt x="1755522" y="283268"/>
                  <a:pt x="1755522" y="284561"/>
                </a:cubicBezTo>
                <a:cubicBezTo>
                  <a:pt x="1755522" y="285733"/>
                  <a:pt x="1755197" y="286831"/>
                  <a:pt x="1754545" y="287854"/>
                </a:cubicBezTo>
                <a:cubicBezTo>
                  <a:pt x="1753894" y="288877"/>
                  <a:pt x="1752973" y="289638"/>
                  <a:pt x="1751783" y="290135"/>
                </a:cubicBezTo>
                <a:cubicBezTo>
                  <a:pt x="1750592" y="290633"/>
                  <a:pt x="1749109" y="290882"/>
                  <a:pt x="1747332" y="290882"/>
                </a:cubicBezTo>
                <a:cubicBezTo>
                  <a:pt x="1744746" y="290882"/>
                  <a:pt x="1742760" y="290284"/>
                  <a:pt x="1741374" y="289089"/>
                </a:cubicBezTo>
                <a:cubicBezTo>
                  <a:pt x="1739988" y="287894"/>
                  <a:pt x="1739160" y="286152"/>
                  <a:pt x="1738891" y="283864"/>
                </a:cubicBezTo>
                <a:lnTo>
                  <a:pt x="1742909" y="283473"/>
                </a:lnTo>
                <a:cubicBezTo>
                  <a:pt x="1743151" y="284822"/>
                  <a:pt x="1743641" y="285812"/>
                  <a:pt x="1744381" y="286445"/>
                </a:cubicBezTo>
                <a:cubicBezTo>
                  <a:pt x="1745120" y="287077"/>
                  <a:pt x="1746118" y="287394"/>
                  <a:pt x="1747374" y="287394"/>
                </a:cubicBezTo>
                <a:cubicBezTo>
                  <a:pt x="1748704" y="287394"/>
                  <a:pt x="1749706" y="287112"/>
                  <a:pt x="1750381" y="286550"/>
                </a:cubicBezTo>
                <a:cubicBezTo>
                  <a:pt x="1751055" y="285987"/>
                  <a:pt x="1751392" y="285329"/>
                  <a:pt x="1751392" y="284575"/>
                </a:cubicBezTo>
                <a:cubicBezTo>
                  <a:pt x="1751392" y="284092"/>
                  <a:pt x="1751250" y="283680"/>
                  <a:pt x="1750967" y="283340"/>
                </a:cubicBezTo>
                <a:cubicBezTo>
                  <a:pt x="1750683" y="283001"/>
                  <a:pt x="1750188" y="282706"/>
                  <a:pt x="1749481" y="282454"/>
                </a:cubicBezTo>
                <a:cubicBezTo>
                  <a:pt x="1748997" y="282287"/>
                  <a:pt x="1747895" y="281989"/>
                  <a:pt x="1746174" y="281561"/>
                </a:cubicBezTo>
                <a:cubicBezTo>
                  <a:pt x="1743960" y="281013"/>
                  <a:pt x="1742407" y="280338"/>
                  <a:pt x="1741514" y="279538"/>
                </a:cubicBezTo>
                <a:cubicBezTo>
                  <a:pt x="1740258" y="278413"/>
                  <a:pt x="1739630" y="277041"/>
                  <a:pt x="1739630" y="275422"/>
                </a:cubicBezTo>
                <a:cubicBezTo>
                  <a:pt x="1739630" y="274380"/>
                  <a:pt x="1739925" y="273406"/>
                  <a:pt x="1740516" y="272499"/>
                </a:cubicBezTo>
                <a:cubicBezTo>
                  <a:pt x="1741107" y="271592"/>
                  <a:pt x="1741958" y="270902"/>
                  <a:pt x="1743069" y="270427"/>
                </a:cubicBezTo>
                <a:cubicBezTo>
                  <a:pt x="1744181" y="269953"/>
                  <a:pt x="1745523" y="269716"/>
                  <a:pt x="1747095" y="269716"/>
                </a:cubicBezTo>
                <a:close/>
                <a:moveTo>
                  <a:pt x="1415465" y="138005"/>
                </a:moveTo>
                <a:cubicBezTo>
                  <a:pt x="1384735" y="138005"/>
                  <a:pt x="1361597" y="163478"/>
                  <a:pt x="1361597" y="195655"/>
                </a:cubicBezTo>
                <a:cubicBezTo>
                  <a:pt x="1361597" y="227833"/>
                  <a:pt x="1384345" y="253724"/>
                  <a:pt x="1415465" y="253724"/>
                </a:cubicBezTo>
                <a:cubicBezTo>
                  <a:pt x="1446585" y="253724"/>
                  <a:pt x="1468492" y="227714"/>
                  <a:pt x="1468492" y="195655"/>
                </a:cubicBezTo>
                <a:cubicBezTo>
                  <a:pt x="1468492" y="163478"/>
                  <a:pt x="1446195" y="138005"/>
                  <a:pt x="1415465" y="138005"/>
                </a:cubicBezTo>
                <a:close/>
                <a:moveTo>
                  <a:pt x="743459" y="138005"/>
                </a:moveTo>
                <a:cubicBezTo>
                  <a:pt x="712729" y="138005"/>
                  <a:pt x="689592" y="163478"/>
                  <a:pt x="689592" y="195655"/>
                </a:cubicBezTo>
                <a:cubicBezTo>
                  <a:pt x="689592" y="227833"/>
                  <a:pt x="712309" y="253724"/>
                  <a:pt x="743459" y="253724"/>
                </a:cubicBezTo>
                <a:cubicBezTo>
                  <a:pt x="774609" y="253724"/>
                  <a:pt x="796486" y="227714"/>
                  <a:pt x="796486" y="195655"/>
                </a:cubicBezTo>
                <a:cubicBezTo>
                  <a:pt x="796486" y="163478"/>
                  <a:pt x="774189" y="138005"/>
                  <a:pt x="743459" y="138005"/>
                </a:cubicBezTo>
                <a:close/>
                <a:moveTo>
                  <a:pt x="262734" y="137498"/>
                </a:moveTo>
                <a:cubicBezTo>
                  <a:pt x="266461" y="140037"/>
                  <a:pt x="270492" y="142099"/>
                  <a:pt x="274738" y="143636"/>
                </a:cubicBezTo>
                <a:cubicBezTo>
                  <a:pt x="280701" y="145793"/>
                  <a:pt x="286997" y="146901"/>
                  <a:pt x="293344" y="146913"/>
                </a:cubicBezTo>
                <a:lnTo>
                  <a:pt x="274648" y="191961"/>
                </a:lnTo>
                <a:lnTo>
                  <a:pt x="279029" y="199767"/>
                </a:lnTo>
                <a:cubicBezTo>
                  <a:pt x="283795" y="199022"/>
                  <a:pt x="288612" y="198653"/>
                  <a:pt x="293434" y="198665"/>
                </a:cubicBezTo>
                <a:cubicBezTo>
                  <a:pt x="298614" y="198665"/>
                  <a:pt x="303784" y="199094"/>
                  <a:pt x="308889" y="199946"/>
                </a:cubicBezTo>
                <a:cubicBezTo>
                  <a:pt x="359707" y="208419"/>
                  <a:pt x="393982" y="256188"/>
                  <a:pt x="385447" y="306637"/>
                </a:cubicBezTo>
                <a:cubicBezTo>
                  <a:pt x="376912" y="357087"/>
                  <a:pt x="328797" y="391117"/>
                  <a:pt x="277979" y="382641"/>
                </a:cubicBezTo>
                <a:cubicBezTo>
                  <a:pt x="227164" y="374168"/>
                  <a:pt x="192890" y="326400"/>
                  <a:pt x="201424" y="275950"/>
                </a:cubicBezTo>
                <a:lnTo>
                  <a:pt x="238756" y="291204"/>
                </a:lnTo>
                <a:cubicBezTo>
                  <a:pt x="238738" y="302165"/>
                  <a:pt x="242064" y="312876"/>
                  <a:pt x="248297" y="321925"/>
                </a:cubicBezTo>
                <a:cubicBezTo>
                  <a:pt x="265336" y="346656"/>
                  <a:pt x="299343" y="352993"/>
                  <a:pt x="324254" y="336080"/>
                </a:cubicBezTo>
                <a:cubicBezTo>
                  <a:pt x="349165" y="319163"/>
                  <a:pt x="355548" y="285400"/>
                  <a:pt x="338512" y="260669"/>
                </a:cubicBezTo>
                <a:cubicBezTo>
                  <a:pt x="321472" y="235937"/>
                  <a:pt x="287465" y="229600"/>
                  <a:pt x="262554" y="246514"/>
                </a:cubicBezTo>
                <a:lnTo>
                  <a:pt x="240077" y="191961"/>
                </a:lnTo>
                <a:close/>
                <a:moveTo>
                  <a:pt x="1113718" y="133387"/>
                </a:moveTo>
                <a:cubicBezTo>
                  <a:pt x="1088090" y="133387"/>
                  <a:pt x="1070414" y="150935"/>
                  <a:pt x="1064532" y="176439"/>
                </a:cubicBezTo>
                <a:lnTo>
                  <a:pt x="1161733" y="176439"/>
                </a:lnTo>
                <a:cubicBezTo>
                  <a:pt x="1155732" y="148015"/>
                  <a:pt x="1137726" y="133387"/>
                  <a:pt x="1113718" y="133387"/>
                </a:cubicBezTo>
                <a:close/>
                <a:moveTo>
                  <a:pt x="1651972" y="89947"/>
                </a:moveTo>
                <a:cubicBezTo>
                  <a:pt x="1698547" y="89947"/>
                  <a:pt x="1728556" y="122542"/>
                  <a:pt x="1728556" y="174770"/>
                </a:cubicBezTo>
                <a:lnTo>
                  <a:pt x="1728556" y="295911"/>
                </a:lnTo>
                <a:lnTo>
                  <a:pt x="1677210" y="295911"/>
                </a:lnTo>
                <a:lnTo>
                  <a:pt x="1677210" y="182278"/>
                </a:lnTo>
                <a:cubicBezTo>
                  <a:pt x="1677210" y="155136"/>
                  <a:pt x="1661215" y="138005"/>
                  <a:pt x="1636397" y="138005"/>
                </a:cubicBezTo>
                <a:cubicBezTo>
                  <a:pt x="1610739" y="138005"/>
                  <a:pt x="1595163" y="155136"/>
                  <a:pt x="1595163" y="182278"/>
                </a:cubicBezTo>
                <a:lnTo>
                  <a:pt x="1595163" y="295911"/>
                </a:lnTo>
                <a:lnTo>
                  <a:pt x="1543817" y="295911"/>
                </a:lnTo>
                <a:lnTo>
                  <a:pt x="1543817" y="95787"/>
                </a:lnTo>
                <a:lnTo>
                  <a:pt x="1595163" y="95787"/>
                </a:lnTo>
                <a:lnTo>
                  <a:pt x="1595163" y="115421"/>
                </a:lnTo>
                <a:cubicBezTo>
                  <a:pt x="1607768" y="99154"/>
                  <a:pt x="1627124" y="89947"/>
                  <a:pt x="1651972" y="89947"/>
                </a:cubicBezTo>
                <a:close/>
                <a:moveTo>
                  <a:pt x="1415045" y="89947"/>
                </a:moveTo>
                <a:cubicBezTo>
                  <a:pt x="1473534" y="89947"/>
                  <a:pt x="1520259" y="137617"/>
                  <a:pt x="1520259" y="196073"/>
                </a:cubicBezTo>
                <a:cubicBezTo>
                  <a:pt x="1520640" y="254075"/>
                  <a:pt x="1473591" y="301399"/>
                  <a:pt x="1415168" y="301781"/>
                </a:cubicBezTo>
                <a:cubicBezTo>
                  <a:pt x="1415129" y="301781"/>
                  <a:pt x="1415087" y="301781"/>
                  <a:pt x="1415045" y="301781"/>
                </a:cubicBezTo>
                <a:cubicBezTo>
                  <a:pt x="1356436" y="301781"/>
                  <a:pt x="1310281" y="254141"/>
                  <a:pt x="1310281" y="196073"/>
                </a:cubicBezTo>
                <a:cubicBezTo>
                  <a:pt x="1310281" y="137588"/>
                  <a:pt x="1356556" y="89947"/>
                  <a:pt x="1415045" y="89947"/>
                </a:cubicBezTo>
                <a:close/>
                <a:moveTo>
                  <a:pt x="1112908" y="89947"/>
                </a:moveTo>
                <a:cubicBezTo>
                  <a:pt x="1170976" y="89947"/>
                  <a:pt x="1214340" y="134221"/>
                  <a:pt x="1214340" y="191902"/>
                </a:cubicBezTo>
                <a:cubicBezTo>
                  <a:pt x="1214458" y="197500"/>
                  <a:pt x="1214034" y="203098"/>
                  <a:pt x="1213080" y="208616"/>
                </a:cubicBezTo>
                <a:lnTo>
                  <a:pt x="1063692" y="208616"/>
                </a:lnTo>
                <a:cubicBezTo>
                  <a:pt x="1068734" y="236592"/>
                  <a:pt x="1090190" y="256643"/>
                  <a:pt x="1121340" y="256643"/>
                </a:cubicBezTo>
                <a:cubicBezTo>
                  <a:pt x="1139928" y="256625"/>
                  <a:pt x="1157709" y="249094"/>
                  <a:pt x="1170586" y="235788"/>
                </a:cubicBezTo>
                <a:lnTo>
                  <a:pt x="1197085" y="270468"/>
                </a:lnTo>
                <a:cubicBezTo>
                  <a:pt x="1182080" y="288016"/>
                  <a:pt x="1153331" y="301811"/>
                  <a:pt x="1119240" y="301811"/>
                </a:cubicBezTo>
                <a:cubicBezTo>
                  <a:pt x="1056520" y="301781"/>
                  <a:pt x="1011085" y="254141"/>
                  <a:pt x="1011085" y="196073"/>
                </a:cubicBezTo>
                <a:cubicBezTo>
                  <a:pt x="1011085" y="137588"/>
                  <a:pt x="1054839" y="89947"/>
                  <a:pt x="1112908" y="89947"/>
                </a:cubicBezTo>
                <a:close/>
                <a:moveTo>
                  <a:pt x="735056" y="89947"/>
                </a:moveTo>
                <a:cubicBezTo>
                  <a:pt x="761555" y="89947"/>
                  <a:pt x="782171" y="99571"/>
                  <a:pt x="796486" y="115838"/>
                </a:cubicBezTo>
                <a:lnTo>
                  <a:pt x="796486" y="95787"/>
                </a:lnTo>
                <a:lnTo>
                  <a:pt x="848253" y="95787"/>
                </a:lnTo>
                <a:lnTo>
                  <a:pt x="848253" y="295911"/>
                </a:lnTo>
                <a:lnTo>
                  <a:pt x="796486" y="295911"/>
                </a:lnTo>
                <a:lnTo>
                  <a:pt x="796486" y="274192"/>
                </a:lnTo>
                <a:cubicBezTo>
                  <a:pt x="781274" y="292151"/>
                  <a:pt x="758686" y="302296"/>
                  <a:pt x="735056" y="301781"/>
                </a:cubicBezTo>
                <a:cubicBezTo>
                  <a:pt x="681609" y="301781"/>
                  <a:pt x="638245" y="258312"/>
                  <a:pt x="638245" y="196073"/>
                </a:cubicBezTo>
                <a:cubicBezTo>
                  <a:pt x="638245" y="135502"/>
                  <a:pt x="679088" y="89947"/>
                  <a:pt x="735056" y="89947"/>
                </a:cubicBezTo>
                <a:close/>
                <a:moveTo>
                  <a:pt x="556409" y="89947"/>
                </a:moveTo>
                <a:cubicBezTo>
                  <a:pt x="590920" y="89947"/>
                  <a:pt x="618259" y="101656"/>
                  <a:pt x="635935" y="120039"/>
                </a:cubicBezTo>
                <a:lnTo>
                  <a:pt x="606465" y="156387"/>
                </a:lnTo>
                <a:cubicBezTo>
                  <a:pt x="593831" y="144044"/>
                  <a:pt x="576644" y="137397"/>
                  <a:pt x="558930" y="138005"/>
                </a:cubicBezTo>
                <a:cubicBezTo>
                  <a:pt x="525259" y="138005"/>
                  <a:pt x="502542" y="163478"/>
                  <a:pt x="502542" y="195655"/>
                </a:cubicBezTo>
                <a:cubicBezTo>
                  <a:pt x="502542" y="227833"/>
                  <a:pt x="525679" y="253724"/>
                  <a:pt x="558510" y="253724"/>
                </a:cubicBezTo>
                <a:cubicBezTo>
                  <a:pt x="577074" y="254248"/>
                  <a:pt x="595031" y="247142"/>
                  <a:pt x="608146" y="234089"/>
                </a:cubicBezTo>
                <a:lnTo>
                  <a:pt x="634254" y="271689"/>
                </a:lnTo>
                <a:cubicBezTo>
                  <a:pt x="618259" y="289238"/>
                  <a:pt x="589239" y="301781"/>
                  <a:pt x="557249" y="301781"/>
                </a:cubicBezTo>
                <a:cubicBezTo>
                  <a:pt x="498859" y="301962"/>
                  <a:pt x="451378" y="255118"/>
                  <a:pt x="451192" y="197148"/>
                </a:cubicBezTo>
                <a:cubicBezTo>
                  <a:pt x="451192" y="196791"/>
                  <a:pt x="451192" y="196430"/>
                  <a:pt x="451195" y="196073"/>
                </a:cubicBezTo>
                <a:cubicBezTo>
                  <a:pt x="451195" y="137588"/>
                  <a:pt x="497500" y="89947"/>
                  <a:pt x="556409" y="89947"/>
                </a:cubicBezTo>
                <a:close/>
                <a:moveTo>
                  <a:pt x="985847" y="89888"/>
                </a:moveTo>
                <a:cubicBezTo>
                  <a:pt x="997485" y="89483"/>
                  <a:pt x="1008916" y="93022"/>
                  <a:pt x="1018258" y="99928"/>
                </a:cubicBezTo>
                <a:lnTo>
                  <a:pt x="996771" y="148373"/>
                </a:lnTo>
                <a:cubicBezTo>
                  <a:pt x="989142" y="142652"/>
                  <a:pt x="979833" y="139575"/>
                  <a:pt x="970272" y="139613"/>
                </a:cubicBezTo>
                <a:cubicBezTo>
                  <a:pt x="949656" y="139613"/>
                  <a:pt x="936602" y="156745"/>
                  <a:pt x="936602" y="183887"/>
                </a:cubicBezTo>
                <a:lnTo>
                  <a:pt x="936602" y="295911"/>
                </a:lnTo>
                <a:lnTo>
                  <a:pt x="885285" y="295911"/>
                </a:lnTo>
                <a:lnTo>
                  <a:pt x="885285" y="95787"/>
                </a:lnTo>
                <a:lnTo>
                  <a:pt x="936602" y="95787"/>
                </a:lnTo>
                <a:lnTo>
                  <a:pt x="936602" y="117477"/>
                </a:lnTo>
                <a:cubicBezTo>
                  <a:pt x="947975" y="100763"/>
                  <a:pt x="964811" y="89888"/>
                  <a:pt x="985847" y="89888"/>
                </a:cubicBezTo>
                <a:close/>
                <a:moveTo>
                  <a:pt x="1235377" y="8491"/>
                </a:moveTo>
                <a:lnTo>
                  <a:pt x="1286724" y="8491"/>
                </a:lnTo>
                <a:lnTo>
                  <a:pt x="1286724" y="295912"/>
                </a:lnTo>
                <a:lnTo>
                  <a:pt x="1235377" y="295912"/>
                </a:lnTo>
                <a:close/>
                <a:moveTo>
                  <a:pt x="93300" y="0"/>
                </a:moveTo>
                <a:lnTo>
                  <a:pt x="93300" y="30"/>
                </a:lnTo>
                <a:cubicBezTo>
                  <a:pt x="98678" y="12"/>
                  <a:pt x="104044" y="456"/>
                  <a:pt x="109343" y="1359"/>
                </a:cubicBezTo>
                <a:cubicBezTo>
                  <a:pt x="147325" y="7825"/>
                  <a:pt x="175950" y="36300"/>
                  <a:pt x="184225" y="71343"/>
                </a:cubicBezTo>
                <a:lnTo>
                  <a:pt x="185309" y="107978"/>
                </a:lnTo>
                <a:lnTo>
                  <a:pt x="193382" y="111280"/>
                </a:lnTo>
                <a:lnTo>
                  <a:pt x="201244" y="106930"/>
                </a:lnTo>
                <a:cubicBezTo>
                  <a:pt x="200494" y="102199"/>
                  <a:pt x="200122" y="97417"/>
                  <a:pt x="200134" y="92629"/>
                </a:cubicBezTo>
                <a:cubicBezTo>
                  <a:pt x="200134" y="41470"/>
                  <a:pt x="241904" y="0"/>
                  <a:pt x="293434" y="0"/>
                </a:cubicBezTo>
                <a:lnTo>
                  <a:pt x="293434" y="149"/>
                </a:lnTo>
                <a:cubicBezTo>
                  <a:pt x="298608" y="149"/>
                  <a:pt x="303772" y="578"/>
                  <a:pt x="308877" y="1431"/>
                </a:cubicBezTo>
                <a:cubicBezTo>
                  <a:pt x="359692" y="9910"/>
                  <a:pt x="393963" y="57681"/>
                  <a:pt x="385423" y="108131"/>
                </a:cubicBezTo>
                <a:cubicBezTo>
                  <a:pt x="376882" y="158580"/>
                  <a:pt x="328764" y="192605"/>
                  <a:pt x="277949" y="184126"/>
                </a:cubicBezTo>
                <a:lnTo>
                  <a:pt x="293344" y="147062"/>
                </a:lnTo>
                <a:cubicBezTo>
                  <a:pt x="304384" y="147080"/>
                  <a:pt x="315173" y="143779"/>
                  <a:pt x="324287" y="137591"/>
                </a:cubicBezTo>
                <a:cubicBezTo>
                  <a:pt x="349198" y="120674"/>
                  <a:pt x="355581" y="86912"/>
                  <a:pt x="338544" y="62180"/>
                </a:cubicBezTo>
                <a:cubicBezTo>
                  <a:pt x="321505" y="37448"/>
                  <a:pt x="287498" y="31111"/>
                  <a:pt x="262587" y="48025"/>
                </a:cubicBezTo>
                <a:cubicBezTo>
                  <a:pt x="237676" y="64942"/>
                  <a:pt x="231293" y="98704"/>
                  <a:pt x="248329" y="123436"/>
                </a:cubicBezTo>
                <a:lnTo>
                  <a:pt x="193382" y="145602"/>
                </a:lnTo>
                <a:lnTo>
                  <a:pt x="138524" y="123168"/>
                </a:lnTo>
                <a:lnTo>
                  <a:pt x="148003" y="92731"/>
                </a:lnTo>
                <a:lnTo>
                  <a:pt x="138468" y="62028"/>
                </a:lnTo>
                <a:cubicBezTo>
                  <a:pt x="121428" y="37296"/>
                  <a:pt x="87421" y="30959"/>
                  <a:pt x="62510" y="47873"/>
                </a:cubicBezTo>
                <a:cubicBezTo>
                  <a:pt x="37599" y="64790"/>
                  <a:pt x="31216" y="98552"/>
                  <a:pt x="48253" y="123284"/>
                </a:cubicBezTo>
                <a:cubicBezTo>
                  <a:pt x="65292" y="148016"/>
                  <a:pt x="99299" y="154353"/>
                  <a:pt x="124210" y="137439"/>
                </a:cubicBezTo>
                <a:lnTo>
                  <a:pt x="146657" y="191961"/>
                </a:lnTo>
                <a:lnTo>
                  <a:pt x="124000" y="246424"/>
                </a:lnTo>
                <a:cubicBezTo>
                  <a:pt x="120279" y="243880"/>
                  <a:pt x="116242" y="241818"/>
                  <a:pt x="111996" y="240287"/>
                </a:cubicBezTo>
                <a:cubicBezTo>
                  <a:pt x="106033" y="238130"/>
                  <a:pt x="99737" y="237018"/>
                  <a:pt x="93390" y="237009"/>
                </a:cubicBezTo>
                <a:cubicBezTo>
                  <a:pt x="82349" y="236991"/>
                  <a:pt x="71561" y="240292"/>
                  <a:pt x="62447" y="246480"/>
                </a:cubicBezTo>
                <a:cubicBezTo>
                  <a:pt x="37536" y="263397"/>
                  <a:pt x="31153" y="297159"/>
                  <a:pt x="48189" y="321891"/>
                </a:cubicBezTo>
                <a:cubicBezTo>
                  <a:pt x="65229" y="346623"/>
                  <a:pt x="99236" y="352960"/>
                  <a:pt x="124147" y="336046"/>
                </a:cubicBezTo>
                <a:cubicBezTo>
                  <a:pt x="149058" y="319129"/>
                  <a:pt x="155441" y="285367"/>
                  <a:pt x="138404" y="260635"/>
                </a:cubicBezTo>
                <a:lnTo>
                  <a:pt x="193382" y="238320"/>
                </a:lnTo>
                <a:lnTo>
                  <a:pt x="248210" y="260754"/>
                </a:lnTo>
                <a:cubicBezTo>
                  <a:pt x="242079" y="269746"/>
                  <a:pt x="238790" y="280347"/>
                  <a:pt x="238757" y="291203"/>
                </a:cubicBezTo>
                <a:lnTo>
                  <a:pt x="193382" y="272642"/>
                </a:lnTo>
                <a:lnTo>
                  <a:pt x="185519" y="276992"/>
                </a:lnTo>
                <a:cubicBezTo>
                  <a:pt x="187056" y="286782"/>
                  <a:pt x="186999" y="296754"/>
                  <a:pt x="185351" y="306526"/>
                </a:cubicBezTo>
                <a:cubicBezTo>
                  <a:pt x="176850" y="356949"/>
                  <a:pt x="128786" y="390983"/>
                  <a:pt x="77998" y="382542"/>
                </a:cubicBezTo>
                <a:cubicBezTo>
                  <a:pt x="27209" y="374102"/>
                  <a:pt x="-7071" y="326384"/>
                  <a:pt x="1431" y="275961"/>
                </a:cubicBezTo>
                <a:cubicBezTo>
                  <a:pt x="7808" y="238144"/>
                  <a:pt x="36437" y="209546"/>
                  <a:pt x="71780" y="201171"/>
                </a:cubicBezTo>
                <a:lnTo>
                  <a:pt x="108762" y="199946"/>
                </a:lnTo>
                <a:lnTo>
                  <a:pt x="112086" y="191932"/>
                </a:lnTo>
                <a:lnTo>
                  <a:pt x="107705" y="184155"/>
                </a:lnTo>
                <a:cubicBezTo>
                  <a:pt x="102939" y="184900"/>
                  <a:pt x="98123" y="185270"/>
                  <a:pt x="93300" y="185258"/>
                </a:cubicBezTo>
                <a:cubicBezTo>
                  <a:pt x="41770" y="185258"/>
                  <a:pt x="0" y="143788"/>
                  <a:pt x="0" y="92629"/>
                </a:cubicBezTo>
                <a:cubicBezTo>
                  <a:pt x="0" y="41470"/>
                  <a:pt x="41770" y="0"/>
                  <a:pt x="93300" y="0"/>
                </a:cubicBezTo>
                <a:close/>
              </a:path>
            </a:pathLst>
          </a:custGeom>
          <a:solidFill>
            <a:schemeClr val="bg1"/>
          </a:solidFill>
        </p:spPr>
        <p:txBody>
          <a:bodyPr wrap="square">
            <a:noAutofit/>
          </a:bodyPr>
          <a:lstStyle>
            <a:lvl1pPr>
              <a:defRPr sz="100">
                <a:solidFill>
                  <a:schemeClr val="bg1">
                    <a:alpha val="0"/>
                  </a:schemeClr>
                </a:solidFill>
              </a:defRPr>
            </a:lvl1pPr>
          </a:lstStyle>
          <a:p>
            <a:pPr lvl="0"/>
            <a:r>
              <a:rPr lang="en-US"/>
              <a:t>Click to edit Master text styles</a:t>
            </a:r>
          </a:p>
        </p:txBody>
      </p:sp>
    </p:spTree>
    <p:extLst>
      <p:ext uri="{BB962C8B-B14F-4D97-AF65-F5344CB8AC3E}">
        <p14:creationId xmlns:p14="http://schemas.microsoft.com/office/powerpoint/2010/main" val="29723076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823114C3-EDAA-984F-A7E5-1E563968A441}"/>
              </a:ext>
            </a:extLst>
          </p:cNvPr>
          <p:cNvSpPr>
            <a:spLocks noGrp="1"/>
          </p:cNvSpPr>
          <p:nvPr>
            <p:ph type="pic" sz="quarter" idx="10"/>
          </p:nvPr>
        </p:nvSpPr>
        <p:spPr>
          <a:xfrm>
            <a:off x="0" y="0"/>
            <a:ext cx="12192000" cy="3441700"/>
          </a:xfrm>
          <a:solidFill>
            <a:schemeClr val="bg1">
              <a:lumMod val="95000"/>
            </a:schemeClr>
          </a:solidFill>
        </p:spPr>
        <p:txBody>
          <a:bodyPr/>
          <a:lstStyle>
            <a:lvl1pPr marL="0" indent="0">
              <a:buNone/>
              <a:defRPr sz="1200"/>
            </a:lvl1pPr>
          </a:lstStyle>
          <a:p>
            <a:r>
              <a:rPr lang="en-US"/>
              <a:t>Click icon to add picture</a:t>
            </a:r>
            <a:endParaRPr lang="en-US" dirty="0"/>
          </a:p>
        </p:txBody>
      </p:sp>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3876609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4B6E5172-0EAF-9541-B6B0-E49938BC848D}"/>
              </a:ext>
            </a:extLst>
          </p:cNvPr>
          <p:cNvSpPr>
            <a:spLocks noGrp="1"/>
          </p:cNvSpPr>
          <p:nvPr>
            <p:ph type="ctrTitle" hasCustomPrompt="1"/>
          </p:nvPr>
        </p:nvSpPr>
        <p:spPr>
          <a:xfrm>
            <a:off x="457198" y="3759716"/>
            <a:ext cx="9366251" cy="622714"/>
          </a:xfrm>
        </p:spPr>
        <p:txBody>
          <a:bodyPr vert="horz" anchor="t"/>
          <a:lstStyle>
            <a:lvl1pPr algn="l">
              <a:defRPr sz="5000">
                <a:solidFill>
                  <a:schemeClr val="tx1"/>
                </a:solidFill>
              </a:defRPr>
            </a:lvl1pPr>
          </a:lstStyle>
          <a:p>
            <a:r>
              <a:rPr lang="en-US" dirty="0"/>
              <a:t>Click to add presentation title</a:t>
            </a:r>
          </a:p>
        </p:txBody>
      </p:sp>
      <p:sp>
        <p:nvSpPr>
          <p:cNvPr id="11" name="Subtitle 2">
            <a:extLst>
              <a:ext uri="{FF2B5EF4-FFF2-40B4-BE49-F238E27FC236}">
                <a16:creationId xmlns:a16="http://schemas.microsoft.com/office/drawing/2014/main" id="{E3B28E96-F998-4145-AFD3-BC0901E28925}"/>
              </a:ext>
            </a:extLst>
          </p:cNvPr>
          <p:cNvSpPr>
            <a:spLocks noGrp="1"/>
          </p:cNvSpPr>
          <p:nvPr>
            <p:ph type="subTitle" idx="1" hasCustomPrompt="1"/>
          </p:nvPr>
        </p:nvSpPr>
        <p:spPr>
          <a:xfrm>
            <a:off x="457198" y="5143500"/>
            <a:ext cx="5638800" cy="228600"/>
          </a:xfrm>
        </p:spPr>
        <p:txBody>
          <a:bodyPr/>
          <a:lstStyle>
            <a:lvl1pPr marL="0" indent="0" algn="l">
              <a:buNone/>
              <a:defRPr sz="18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7" name="Text Placeholder 11">
            <a:extLst>
              <a:ext uri="{FF2B5EF4-FFF2-40B4-BE49-F238E27FC236}">
                <a16:creationId xmlns:a16="http://schemas.microsoft.com/office/drawing/2014/main" id="{5BCB3DBE-7952-BD46-A5A1-E42AA39DD513}"/>
              </a:ext>
            </a:extLst>
          </p:cNvPr>
          <p:cNvSpPr>
            <a:spLocks noGrp="1"/>
          </p:cNvSpPr>
          <p:nvPr>
            <p:ph type="body" sz="quarter" idx="11" hasCustomPrompt="1"/>
          </p:nvPr>
        </p:nvSpPr>
        <p:spPr>
          <a:xfrm>
            <a:off x="457198" y="5385850"/>
            <a:ext cx="5638800" cy="224536"/>
          </a:xfrm>
        </p:spPr>
        <p:txBody>
          <a:bodyPr vert="horz" lIns="0" tIns="0" rIns="0" bIns="0" rtlCol="0">
            <a:noAutofit/>
          </a:bodyPr>
          <a:lstStyle>
            <a:lvl1pPr>
              <a:defRPr lang="en-US" sz="1800" i="0" dirty="0">
                <a:latin typeface="+mn-lt"/>
              </a:defRPr>
            </a:lvl1pPr>
          </a:lstStyle>
          <a:p>
            <a:pPr lvl="0"/>
            <a:r>
              <a:rPr lang="en-US" dirty="0"/>
              <a:t>Click to add date</a:t>
            </a:r>
          </a:p>
        </p:txBody>
      </p:sp>
      <p:pic>
        <p:nvPicPr>
          <p:cNvPr id="12" name="Graphic 11">
            <a:extLst>
              <a:ext uri="{FF2B5EF4-FFF2-40B4-BE49-F238E27FC236}">
                <a16:creationId xmlns:a16="http://schemas.microsoft.com/office/drawing/2014/main" id="{26A3A06A-A1A0-D902-0E0F-70ABAC4575B6}"/>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93341" y="6156161"/>
            <a:ext cx="1785575" cy="384339"/>
          </a:xfrm>
          <a:prstGeom prst="rect">
            <a:avLst/>
          </a:prstGeom>
        </p:spPr>
      </p:pic>
    </p:spTree>
    <p:extLst>
      <p:ext uri="{BB962C8B-B14F-4D97-AF65-F5344CB8AC3E}">
        <p14:creationId xmlns:p14="http://schemas.microsoft.com/office/powerpoint/2010/main" val="656850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10905094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p>
            <a:r>
              <a:rPr lang="en-US" dirty="0"/>
              <a:t>Click to edit master title style</a:t>
            </a:r>
          </a:p>
        </p:txBody>
      </p:sp>
      <p:sp>
        <p:nvSpPr>
          <p:cNvPr id="3" name="Content Placeholder 2">
            <a:extLst>
              <a:ext uri="{FF2B5EF4-FFF2-40B4-BE49-F238E27FC236}">
                <a16:creationId xmlns:a16="http://schemas.microsoft.com/office/drawing/2014/main" id="{24FC1E18-3994-4821-BBED-2E435EACD903}"/>
              </a:ext>
            </a:extLst>
          </p:cNvPr>
          <p:cNvSpPr>
            <a:spLocks noGrp="1"/>
          </p:cNvSpPr>
          <p:nvPr>
            <p:ph idx="1" hasCustomPrompt="1"/>
          </p:nvPr>
        </p:nvSpPr>
        <p:spPr>
          <a:xfrm>
            <a:off x="457200" y="1694048"/>
            <a:ext cx="11292840" cy="4313052"/>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1" name="TextBox 10">
            <a:extLst>
              <a:ext uri="{FF2B5EF4-FFF2-40B4-BE49-F238E27FC236}">
                <a16:creationId xmlns:a16="http://schemas.microsoft.com/office/drawing/2014/main" id="{AFD28C7D-8653-A64D-9D01-E67E0D43199F}"/>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sp>
        <p:nvSpPr>
          <p:cNvPr id="4" name="Text Placeholder 3">
            <a:extLst>
              <a:ext uri="{FF2B5EF4-FFF2-40B4-BE49-F238E27FC236}">
                <a16:creationId xmlns:a16="http://schemas.microsoft.com/office/drawing/2014/main" id="{00097867-8AC3-DDD4-59B3-00B7ED7B0081}"/>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99674429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3.svg"/><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E45441-7E5B-8F4F-AEE9-C817B4D674E4}"/>
              </a:ext>
            </a:extLst>
          </p:cNvPr>
          <p:cNvGraphicFramePr>
            <a:graphicFrameLocks noChangeAspect="1"/>
          </p:cNvGraphicFramePr>
          <p:nvPr>
            <p:custDataLst>
              <p:tags r:id="rId42"/>
            </p:custDataLst>
            <p:extLst>
              <p:ext uri="{D42A27DB-BD31-4B8C-83A1-F6EECF244321}">
                <p14:modId xmlns:p14="http://schemas.microsoft.com/office/powerpoint/2010/main" val="361029312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3" imgW="7772400" imgH="10058400" progId="TCLayout.ActiveDocument.1">
                  <p:embed/>
                </p:oleObj>
              </mc:Choice>
              <mc:Fallback>
                <p:oleObj name="think-cell Slide" r:id="rId43" imgW="7772400" imgH="10058400" progId="TCLayout.ActiveDocument.1">
                  <p:embed/>
                  <p:pic>
                    <p:nvPicPr>
                      <p:cNvPr id="7" name="Object 6" hidden="1">
                        <a:extLst>
                          <a:ext uri="{FF2B5EF4-FFF2-40B4-BE49-F238E27FC236}">
                            <a16:creationId xmlns:a16="http://schemas.microsoft.com/office/drawing/2014/main" id="{4FE45441-7E5B-8F4F-AEE9-C817B4D674E4}"/>
                          </a:ext>
                        </a:extLst>
                      </p:cNvPr>
                      <p:cNvPicPr/>
                      <p:nvPr/>
                    </p:nvPicPr>
                    <p:blipFill>
                      <a:blip r:embed="rId44"/>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C88F042-2AFB-42B5-BB01-4498F4506EAD}"/>
              </a:ext>
            </a:extLst>
          </p:cNvPr>
          <p:cNvSpPr>
            <a:spLocks noGrp="1"/>
          </p:cNvSpPr>
          <p:nvPr>
            <p:ph type="title"/>
          </p:nvPr>
        </p:nvSpPr>
        <p:spPr>
          <a:xfrm>
            <a:off x="457200" y="384048"/>
            <a:ext cx="11274552" cy="822960"/>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FBA90925-69FD-4467-9C11-D2AEE94BABAD}"/>
              </a:ext>
            </a:extLst>
          </p:cNvPr>
          <p:cNvSpPr>
            <a:spLocks noGrp="1"/>
          </p:cNvSpPr>
          <p:nvPr>
            <p:ph type="body" idx="1"/>
          </p:nvPr>
        </p:nvSpPr>
        <p:spPr>
          <a:xfrm>
            <a:off x="457200" y="1694048"/>
            <a:ext cx="11274552" cy="43130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Box 25">
            <a:extLst>
              <a:ext uri="{FF2B5EF4-FFF2-40B4-BE49-F238E27FC236}">
                <a16:creationId xmlns:a16="http://schemas.microsoft.com/office/drawing/2014/main" id="{ED412B9A-E70E-6449-8DEF-3E56B12E4331}"/>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pic>
        <p:nvPicPr>
          <p:cNvPr id="5" name="Graphic 4">
            <a:extLst>
              <a:ext uri="{FF2B5EF4-FFF2-40B4-BE49-F238E27FC236}">
                <a16:creationId xmlns:a16="http://schemas.microsoft.com/office/drawing/2014/main" id="{57BC2DB0-7F5A-4142-B10E-47FE768EB3DC}"/>
              </a:ext>
            </a:extLst>
          </p:cNvPr>
          <p:cNvPicPr>
            <a:picLocks noChangeAspect="1"/>
          </p:cNvPicPr>
          <p:nvPr/>
        </p:nvPicPr>
        <p:blipFill>
          <a:blip r:embed="rId45" cstate="screen">
            <a:extLst>
              <a:ext uri="{28A0092B-C50C-407E-A947-70E740481C1C}">
                <a14:useLocalDpi xmlns:a14="http://schemas.microsoft.com/office/drawing/2010/main"/>
              </a:ext>
              <a:ext uri="{96DAC541-7B7A-43D3-8B79-37D633B846F1}">
                <asvg:svgBlip xmlns:asvg="http://schemas.microsoft.com/office/drawing/2016/SVG/main" r:embed="rId46"/>
              </a:ext>
            </a:extLst>
          </a:blip>
          <a:stretch>
            <a:fillRect/>
          </a:stretch>
        </p:blipFill>
        <p:spPr>
          <a:xfrm>
            <a:off x="457199" y="6181343"/>
            <a:ext cx="365760" cy="365760"/>
          </a:xfrm>
          <a:prstGeom prst="rect">
            <a:avLst/>
          </a:prstGeom>
        </p:spPr>
      </p:pic>
    </p:spTree>
    <p:extLst>
      <p:ext uri="{BB962C8B-B14F-4D97-AF65-F5344CB8AC3E}">
        <p14:creationId xmlns:p14="http://schemas.microsoft.com/office/powerpoint/2010/main" val="64630813"/>
      </p:ext>
    </p:extLst>
  </p:cSld>
  <p:clrMap bg1="lt1" tx1="dk1" bg2="lt2" tx2="dk2" accent1="accent1" accent2="accent2" accent3="accent3" accent4="accent4" accent5="accent5" accent6="accent6" hlink="hlink" folHlink="folHlink"/>
  <p:sldLayoutIdLst>
    <p:sldLayoutId id="2147483697" r:id="rId1"/>
    <p:sldLayoutId id="2147483662" r:id="rId2"/>
    <p:sldLayoutId id="2147483663" r:id="rId3"/>
    <p:sldLayoutId id="2147483699" r:id="rId4"/>
    <p:sldLayoutId id="2147483700" r:id="rId5"/>
    <p:sldLayoutId id="2147483701"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704" r:id="rId15"/>
    <p:sldLayoutId id="2147483694" r:id="rId16"/>
    <p:sldLayoutId id="2147483695" r:id="rId17"/>
    <p:sldLayoutId id="2147483696" r:id="rId18"/>
    <p:sldLayoutId id="2147483672" r:id="rId19"/>
    <p:sldLayoutId id="2147483673" r:id="rId20"/>
    <p:sldLayoutId id="2147483674" r:id="rId21"/>
    <p:sldLayoutId id="2147483675" r:id="rId22"/>
    <p:sldLayoutId id="2147483676" r:id="rId23"/>
    <p:sldLayoutId id="2147483677" r:id="rId24"/>
    <p:sldLayoutId id="2147483678" r:id="rId25"/>
    <p:sldLayoutId id="2147483703" r:id="rId26"/>
    <p:sldLayoutId id="2147483679" r:id="rId27"/>
    <p:sldLayoutId id="2147483680" r:id="rId28"/>
    <p:sldLayoutId id="2147483681" r:id="rId29"/>
    <p:sldLayoutId id="2147483682" r:id="rId30"/>
    <p:sldLayoutId id="2147483683" r:id="rId31"/>
    <p:sldLayoutId id="2147483684" r:id="rId32"/>
    <p:sldLayoutId id="2147483685" r:id="rId33"/>
    <p:sldLayoutId id="2147483686" r:id="rId34"/>
    <p:sldLayoutId id="2147483687" r:id="rId35"/>
    <p:sldLayoutId id="2147483688" r:id="rId36"/>
    <p:sldLayoutId id="2147483689" r:id="rId37"/>
    <p:sldLayoutId id="2147483693" r:id="rId38"/>
    <p:sldLayoutId id="2147483692" r:id="rId39"/>
    <p:sldLayoutId id="2147483690" r:id="rId40"/>
  </p:sldLayoutIdLst>
  <p:hf hdr="0" ftr="0" dt="0"/>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2000"/>
        </a:spcBef>
        <a:buClr>
          <a:schemeClr val="tx2"/>
        </a:buClr>
        <a:buFont typeface="Elevance Sans" pitchFamily="2" charset="0"/>
        <a:buNone/>
        <a:tabLst/>
        <a:defRPr sz="2000" b="0" i="0" kern="1200">
          <a:solidFill>
            <a:schemeClr val="tx2"/>
          </a:solidFill>
          <a:latin typeface="Elevance Sans Medium" pitchFamily="2" charset="0"/>
          <a:ea typeface="+mn-ea"/>
          <a:cs typeface="+mn-cs"/>
        </a:defRPr>
      </a:lvl1pPr>
      <a:lvl2pPr marL="0" indent="0" algn="l" defTabSz="914400" rtl="0" eaLnBrk="1" latinLnBrk="0" hangingPunct="1">
        <a:lnSpc>
          <a:spcPct val="100000"/>
        </a:lnSpc>
        <a:spcBef>
          <a:spcPts val="2000"/>
        </a:spcBef>
        <a:buClr>
          <a:schemeClr val="tx2"/>
        </a:buClr>
        <a:buFont typeface="Elevance Sans" pitchFamily="2" charset="0"/>
        <a:buNone/>
        <a:tabLst/>
        <a:defRPr sz="2000" kern="1200">
          <a:solidFill>
            <a:schemeClr val="tx2"/>
          </a:solidFill>
          <a:latin typeface="+mn-lt"/>
          <a:ea typeface="+mn-ea"/>
          <a:cs typeface="+mn-cs"/>
        </a:defRPr>
      </a:lvl2pPr>
      <a:lvl3pPr marL="228600" indent="-228600" algn="l" defTabSz="914400" rtl="0" eaLnBrk="1" latinLnBrk="0" hangingPunct="1">
        <a:lnSpc>
          <a:spcPct val="100000"/>
        </a:lnSpc>
        <a:spcBef>
          <a:spcPts val="2000"/>
        </a:spcBef>
        <a:buClr>
          <a:schemeClr val="tx2"/>
        </a:buClr>
        <a:buFont typeface="Elevance Sans" pitchFamily="2" charset="0"/>
        <a:buChar char="•"/>
        <a:tabLst/>
        <a:defRPr sz="2000" kern="1200">
          <a:solidFill>
            <a:schemeClr val="tx2"/>
          </a:solidFill>
          <a:latin typeface="+mn-lt"/>
          <a:ea typeface="+mn-ea"/>
          <a:cs typeface="+mn-cs"/>
        </a:defRPr>
      </a:lvl3pPr>
      <a:lvl4pPr marL="457200" indent="-231775" algn="l" defTabSz="914400" rtl="0" eaLnBrk="1" latinLnBrk="0" hangingPunct="1">
        <a:lnSpc>
          <a:spcPct val="100000"/>
        </a:lnSpc>
        <a:spcBef>
          <a:spcPts val="2000"/>
        </a:spcBef>
        <a:buClr>
          <a:schemeClr val="tx2"/>
        </a:buClr>
        <a:buFont typeface="Elevance Sans" pitchFamily="2" charset="0"/>
        <a:buChar char="–"/>
        <a:tabLst/>
        <a:defRPr sz="2000" kern="1200">
          <a:solidFill>
            <a:schemeClr val="tx2"/>
          </a:solidFill>
          <a:latin typeface="+mn-lt"/>
          <a:ea typeface="+mn-ea"/>
          <a:cs typeface="+mn-cs"/>
        </a:defRPr>
      </a:lvl4pPr>
      <a:lvl5pPr marL="685800" indent="-228600" algn="l" defTabSz="914400" rtl="0" eaLnBrk="1" latinLnBrk="0" hangingPunct="1">
        <a:lnSpc>
          <a:spcPct val="100000"/>
        </a:lnSpc>
        <a:spcBef>
          <a:spcPts val="2000"/>
        </a:spcBef>
        <a:buClr>
          <a:schemeClr val="tx2"/>
        </a:buClr>
        <a:buFont typeface="Elevance Sans" pitchFamily="2" charset="0"/>
        <a:buChar char="•"/>
        <a:tabLst/>
        <a:defRPr sz="2000" kern="1200">
          <a:solidFill>
            <a:schemeClr val="tx2"/>
          </a:solidFill>
          <a:latin typeface="+mn-lt"/>
          <a:ea typeface="+mn-ea"/>
          <a:cs typeface="+mn-cs"/>
        </a:defRPr>
      </a:lvl5pPr>
      <a:lvl6pPr marL="859536" indent="-173736" algn="l" defTabSz="914400" rtl="0" eaLnBrk="1" latinLnBrk="0" hangingPunct="1">
        <a:lnSpc>
          <a:spcPct val="100000"/>
        </a:lnSpc>
        <a:spcBef>
          <a:spcPts val="2000"/>
        </a:spcBef>
        <a:buClr>
          <a:schemeClr val="tx2"/>
        </a:buClr>
        <a:buFont typeface="Elevance Sans" pitchFamily="2" charset="0"/>
        <a:buChar char="•"/>
        <a:defRPr sz="2000" kern="1200">
          <a:solidFill>
            <a:schemeClr val="tx2"/>
          </a:solidFill>
          <a:latin typeface="+mn-lt"/>
          <a:ea typeface="+mn-ea"/>
          <a:cs typeface="+mn-cs"/>
        </a:defRPr>
      </a:lvl6pPr>
      <a:lvl7pPr marL="2971800" indent="-228600" algn="l" defTabSz="914400" rtl="0" eaLnBrk="1" latinLnBrk="0" hangingPunct="1">
        <a:lnSpc>
          <a:spcPct val="90000"/>
        </a:lnSpc>
        <a:spcBef>
          <a:spcPts val="500"/>
        </a:spcBef>
        <a:buFont typeface="Elevance Sans" pitchFamily="2"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Elevance Sans" pitchFamily="2"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Elevance Sans" pitchFamily="2"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15:clr>
            <a:srgbClr val="F26B43"/>
          </p15:clr>
        </p15:guide>
        <p15:guide id="11" orient="horz" pos="552">
          <p15:clr>
            <a:srgbClr val="F26B43"/>
          </p15:clr>
        </p15:guide>
        <p15:guide id="12" pos="7680">
          <p15:clr>
            <a:srgbClr val="F26B43"/>
          </p15:clr>
        </p15:guide>
        <p15:guide id="13" orient="horz" pos="1088">
          <p15:clr>
            <a:srgbClr val="F26B43"/>
          </p15:clr>
        </p15:guide>
        <p15:guide id="14" orient="horz" pos="1624">
          <p15:clr>
            <a:srgbClr val="F26B43"/>
          </p15:clr>
        </p15:guide>
        <p15:guide id="15" orient="horz" pos="2168">
          <p15:clr>
            <a:srgbClr val="F26B43"/>
          </p15:clr>
        </p15:guide>
        <p15:guide id="16" orient="horz" pos="2704">
          <p15:clr>
            <a:srgbClr val="F26B43"/>
          </p15:clr>
        </p15:guide>
        <p15:guide id="17" orient="horz" pos="3240">
          <p15:clr>
            <a:srgbClr val="F26B43"/>
          </p15:clr>
        </p15:guide>
        <p15:guide id="18" orient="horz" pos="3784">
          <p15:clr>
            <a:srgbClr val="F26B43"/>
          </p15:clr>
        </p15:guide>
        <p15:guide id="19" orient="horz" pos="4120">
          <p15:clr>
            <a:srgbClr val="F26B43"/>
          </p15:clr>
        </p15:guide>
        <p15:guide id="20" orient="horz" pos="272">
          <p15:clr>
            <a:srgbClr val="F26B43"/>
          </p15:clr>
        </p15:guide>
        <p15:guide id="21" pos="288">
          <p15:clr>
            <a:srgbClr val="F26B43"/>
          </p15:clr>
        </p15:guide>
        <p15:guide id="22" pos="7392">
          <p15:clr>
            <a:srgbClr val="F26B43"/>
          </p15:clr>
        </p15:guide>
        <p15:guide id="23">
          <p15:clr>
            <a:srgbClr val="F26B43"/>
          </p15:clr>
        </p15:guide>
        <p15:guide id="24" orient="horz" pos="4320">
          <p15:clr>
            <a:srgbClr val="F26B43"/>
          </p15:clr>
        </p15:guide>
        <p15:guide id="25" pos="894">
          <p15:clr>
            <a:srgbClr val="F26B43"/>
          </p15:clr>
        </p15:guide>
        <p15:guide id="26" pos="750">
          <p15:clr>
            <a:srgbClr val="F26B43"/>
          </p15:clr>
        </p15:guide>
        <p15:guide id="27" pos="1498">
          <p15:clr>
            <a:srgbClr val="F26B43"/>
          </p15:clr>
        </p15:guide>
        <p15:guide id="28" pos="1354">
          <p15:clr>
            <a:srgbClr val="F26B43"/>
          </p15:clr>
        </p15:guide>
        <p15:guide id="29" pos="2102">
          <p15:clr>
            <a:srgbClr val="F26B43"/>
          </p15:clr>
        </p15:guide>
        <p15:guide id="30" pos="1958">
          <p15:clr>
            <a:srgbClr val="F26B43"/>
          </p15:clr>
        </p15:guide>
        <p15:guide id="31" pos="2706">
          <p15:clr>
            <a:srgbClr val="F26B43"/>
          </p15:clr>
        </p15:guide>
        <p15:guide id="32" pos="2562">
          <p15:clr>
            <a:srgbClr val="F26B43"/>
          </p15:clr>
        </p15:guide>
        <p15:guide id="33" pos="3311">
          <p15:clr>
            <a:srgbClr val="F26B43"/>
          </p15:clr>
        </p15:guide>
        <p15:guide id="34" pos="3167">
          <p15:clr>
            <a:srgbClr val="F26B43"/>
          </p15:clr>
        </p15:guide>
        <p15:guide id="35" pos="3915">
          <p15:clr>
            <a:srgbClr val="F26B43"/>
          </p15:clr>
        </p15:guide>
        <p15:guide id="36" pos="3771">
          <p15:clr>
            <a:srgbClr val="F26B43"/>
          </p15:clr>
        </p15:guide>
        <p15:guide id="37" pos="4519">
          <p15:clr>
            <a:srgbClr val="F26B43"/>
          </p15:clr>
        </p15:guide>
        <p15:guide id="38" pos="4375">
          <p15:clr>
            <a:srgbClr val="F26B43"/>
          </p15:clr>
        </p15:guide>
        <p15:guide id="39" pos="5123">
          <p15:clr>
            <a:srgbClr val="F26B43"/>
          </p15:clr>
        </p15:guide>
        <p15:guide id="40" pos="4979">
          <p15:clr>
            <a:srgbClr val="F26B43"/>
          </p15:clr>
        </p15:guide>
        <p15:guide id="41" pos="5728">
          <p15:clr>
            <a:srgbClr val="F26B43"/>
          </p15:clr>
        </p15:guide>
        <p15:guide id="42" pos="5584">
          <p15:clr>
            <a:srgbClr val="F26B43"/>
          </p15:clr>
        </p15:guide>
        <p15:guide id="43" pos="6332">
          <p15:clr>
            <a:srgbClr val="F26B43"/>
          </p15:clr>
        </p15:guide>
        <p15:guide id="44" pos="6188">
          <p15:clr>
            <a:srgbClr val="F26B43"/>
          </p15:clr>
        </p15:guide>
        <p15:guide id="45" pos="6936">
          <p15:clr>
            <a:srgbClr val="F26B43"/>
          </p15:clr>
        </p15:guide>
        <p15:guide id="46" pos="679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34.xml"/><Relationship Id="rId1" Type="http://schemas.openxmlformats.org/officeDocument/2006/relationships/tags" Target="../tags/tag35.xml"/><Relationship Id="rId4" Type="http://schemas.openxmlformats.org/officeDocument/2006/relationships/image" Target="../media/image18.emf"/></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34.xml"/></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3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0A0F69B-72CA-54A1-0AA6-BD3C0E24AB3C}"/>
              </a:ext>
            </a:extLst>
          </p:cNvPr>
          <p:cNvSpPr>
            <a:spLocks noGrp="1"/>
          </p:cNvSpPr>
          <p:nvPr>
            <p:ph type="ctrTitle"/>
          </p:nvPr>
        </p:nvSpPr>
        <p:spPr>
          <a:xfrm>
            <a:off x="415088" y="829065"/>
            <a:ext cx="8349500" cy="1066946"/>
          </a:xfrm>
        </p:spPr>
        <p:txBody>
          <a:bodyPr/>
          <a:lstStyle/>
          <a:p>
            <a:r>
              <a:rPr lang="en-US" sz="3600" b="1" dirty="0"/>
              <a:t>Duplicate Address Prediction</a:t>
            </a:r>
          </a:p>
        </p:txBody>
      </p:sp>
      <p:sp>
        <p:nvSpPr>
          <p:cNvPr id="3" name="TextBox 2">
            <a:extLst>
              <a:ext uri="{FF2B5EF4-FFF2-40B4-BE49-F238E27FC236}">
                <a16:creationId xmlns:a16="http://schemas.microsoft.com/office/drawing/2014/main" id="{40A5537D-61DD-E424-DAA8-0A593264A13C}"/>
              </a:ext>
            </a:extLst>
          </p:cNvPr>
          <p:cNvSpPr txBox="1"/>
          <p:nvPr/>
        </p:nvSpPr>
        <p:spPr>
          <a:xfrm>
            <a:off x="413657" y="4506686"/>
            <a:ext cx="2967159" cy="276999"/>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r>
              <a:rPr lang="en-US">
                <a:solidFill>
                  <a:schemeClr val="tx2"/>
                </a:solidFill>
              </a:rPr>
              <a:t>19 Aug 2025 – Aman Sharma</a:t>
            </a:r>
          </a:p>
        </p:txBody>
      </p:sp>
    </p:spTree>
    <p:extLst>
      <p:ext uri="{BB962C8B-B14F-4D97-AF65-F5344CB8AC3E}">
        <p14:creationId xmlns:p14="http://schemas.microsoft.com/office/powerpoint/2010/main" val="31284601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53BCF3-2684-44C9-9376-7D3BE4475286}"/>
              </a:ext>
            </a:extLst>
          </p:cNvPr>
          <p:cNvSpPr>
            <a:spLocks noGrp="1"/>
          </p:cNvSpPr>
          <p:nvPr>
            <p:ph type="title"/>
          </p:nvPr>
        </p:nvSpPr>
        <p:spPr/>
        <p:txBody>
          <a:bodyPr/>
          <a:lstStyle/>
          <a:p>
            <a:r>
              <a:rPr lang="en-US" dirty="0"/>
              <a:t>Winning Address Determination</a:t>
            </a:r>
          </a:p>
        </p:txBody>
      </p:sp>
      <p:sp>
        <p:nvSpPr>
          <p:cNvPr id="3" name="Content Placeholder 2">
            <a:extLst>
              <a:ext uri="{FF2B5EF4-FFF2-40B4-BE49-F238E27FC236}">
                <a16:creationId xmlns:a16="http://schemas.microsoft.com/office/drawing/2014/main" id="{40F72FFD-F0A5-C901-6076-591E3F5213A7}"/>
              </a:ext>
            </a:extLst>
          </p:cNvPr>
          <p:cNvSpPr>
            <a:spLocks noGrp="1"/>
          </p:cNvSpPr>
          <p:nvPr>
            <p:ph idx="1"/>
          </p:nvPr>
        </p:nvSpPr>
        <p:spPr>
          <a:xfrm>
            <a:off x="457200" y="1715512"/>
            <a:ext cx="10702559" cy="4291588"/>
          </a:xfrm>
        </p:spPr>
        <p:txBody>
          <a:bodyPr vert="horz" lIns="0" tIns="0" rIns="0" bIns="0" rtlCol="0" anchor="t">
            <a:noAutofit/>
          </a:bodyPr>
          <a:lstStyle/>
          <a:p>
            <a:r>
              <a:rPr lang="en-US" b="1"/>
              <a:t>Criteria and Evaluation:</a:t>
            </a:r>
            <a:endParaRPr lang="en-US"/>
          </a:p>
          <a:p>
            <a:pPr marL="342900" indent="-342900">
              <a:buFont typeface="Wingdings" pitchFamily="2" charset="0"/>
              <a:buChar char="Ø"/>
            </a:pPr>
            <a:r>
              <a:rPr lang="en-US">
                <a:latin typeface="Elevance Sans Medium"/>
              </a:rPr>
              <a:t>Function: postprocess_group: Enforces business rules to assign status and action on identified address groupings</a:t>
            </a:r>
          </a:p>
          <a:p>
            <a:pPr marL="342900" indent="-342900">
              <a:buFont typeface="Wingdings" pitchFamily="2" charset="0"/>
              <a:buChar char="Ø"/>
            </a:pPr>
            <a:r>
              <a:rPr lang="en-US"/>
              <a:t>Outcome: Clears ambiguities, determining "winning" addresses among duplicates, and applies standardized responses.</a:t>
            </a:r>
          </a:p>
          <a:p>
            <a:endParaRPr lang="en-US" dirty="0"/>
          </a:p>
        </p:txBody>
      </p:sp>
    </p:spTree>
    <p:extLst>
      <p:ext uri="{BB962C8B-B14F-4D97-AF65-F5344CB8AC3E}">
        <p14:creationId xmlns:p14="http://schemas.microsoft.com/office/powerpoint/2010/main" val="32036674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F4B160-6DD0-7582-1838-508C09BCD17A}"/>
              </a:ext>
            </a:extLst>
          </p:cNvPr>
          <p:cNvSpPr>
            <a:spLocks noGrp="1"/>
          </p:cNvSpPr>
          <p:nvPr>
            <p:ph type="title"/>
          </p:nvPr>
        </p:nvSpPr>
        <p:spPr/>
        <p:txBody>
          <a:bodyPr/>
          <a:lstStyle/>
          <a:p>
            <a:r>
              <a:rPr lang="en-US" sz="3200" b="1" dirty="0">
                <a:solidFill>
                  <a:srgbClr val="003366"/>
                </a:solidFill>
              </a:rPr>
              <a:t>Business Value</a:t>
            </a:r>
            <a:endParaRPr lang="en-US" dirty="0"/>
          </a:p>
        </p:txBody>
      </p:sp>
      <p:pic>
        <p:nvPicPr>
          <p:cNvPr id="5" name="Content Placeholder 4" descr="A purple rectangular sign with white text&#10;&#10;AI-generated content may be incorrect.">
            <a:extLst>
              <a:ext uri="{FF2B5EF4-FFF2-40B4-BE49-F238E27FC236}">
                <a16:creationId xmlns:a16="http://schemas.microsoft.com/office/drawing/2014/main" id="{B497432C-FA57-6330-1B37-119C8D9A122E}"/>
              </a:ext>
            </a:extLst>
          </p:cNvPr>
          <p:cNvPicPr>
            <a:picLocks noGrp="1" noChangeAspect="1"/>
          </p:cNvPicPr>
          <p:nvPr>
            <p:ph idx="1"/>
          </p:nvPr>
        </p:nvPicPr>
        <p:blipFill>
          <a:blip r:embed="rId2"/>
          <a:stretch>
            <a:fillRect/>
          </a:stretch>
        </p:blipFill>
        <p:spPr>
          <a:xfrm>
            <a:off x="452392" y="1220268"/>
            <a:ext cx="8173729" cy="4368269"/>
          </a:xfrm>
          <a:prstGeom prst="rect">
            <a:avLst/>
          </a:prstGeom>
        </p:spPr>
      </p:pic>
      <p:sp>
        <p:nvSpPr>
          <p:cNvPr id="4" name="Text Placeholder 3">
            <a:extLst>
              <a:ext uri="{FF2B5EF4-FFF2-40B4-BE49-F238E27FC236}">
                <a16:creationId xmlns:a16="http://schemas.microsoft.com/office/drawing/2014/main" id="{54FC20AA-D3A2-0C56-DC5E-D9F7901D738F}"/>
              </a:ext>
            </a:extLst>
          </p:cNvPr>
          <p:cNvSpPr>
            <a:spLocks noGrp="1"/>
          </p:cNvSpPr>
          <p:nvPr>
            <p:ph type="body" sz="half" idx="2"/>
          </p:nvPr>
        </p:nvSpPr>
        <p:spPr/>
        <p:txBody>
          <a:bodyPr/>
          <a:lstStyle/>
          <a:p>
            <a:endParaRPr lang="en-US"/>
          </a:p>
        </p:txBody>
      </p:sp>
    </p:spTree>
    <p:extLst>
      <p:ext uri="{BB962C8B-B14F-4D97-AF65-F5344CB8AC3E}">
        <p14:creationId xmlns:p14="http://schemas.microsoft.com/office/powerpoint/2010/main" val="11276078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25A7F6-8905-6B53-378D-8B1CD7A384B1}"/>
              </a:ext>
            </a:extLst>
          </p:cNvPr>
          <p:cNvSpPr>
            <a:spLocks noGrp="1"/>
          </p:cNvSpPr>
          <p:nvPr>
            <p:ph type="title"/>
          </p:nvPr>
        </p:nvSpPr>
        <p:spPr/>
        <p:txBody>
          <a:bodyPr/>
          <a:lstStyle/>
          <a:p>
            <a:r>
              <a:rPr lang="en-US" sz="3200" b="1" dirty="0">
                <a:solidFill>
                  <a:srgbClr val="003366"/>
                </a:solidFill>
              </a:rPr>
              <a:t>Conclusion</a:t>
            </a:r>
            <a:endParaRPr lang="en-US" dirty="0"/>
          </a:p>
        </p:txBody>
      </p:sp>
      <p:pic>
        <p:nvPicPr>
          <p:cNvPr id="5" name="Content Placeholder 4" descr="A diagram of benefits&#10;&#10;AI-generated content may be incorrect.">
            <a:extLst>
              <a:ext uri="{FF2B5EF4-FFF2-40B4-BE49-F238E27FC236}">
                <a16:creationId xmlns:a16="http://schemas.microsoft.com/office/drawing/2014/main" id="{541455C8-F8A6-FCAA-F073-307D1C2F104D}"/>
              </a:ext>
            </a:extLst>
          </p:cNvPr>
          <p:cNvPicPr>
            <a:picLocks noGrp="1" noChangeAspect="1"/>
          </p:cNvPicPr>
          <p:nvPr>
            <p:ph idx="1"/>
          </p:nvPr>
        </p:nvPicPr>
        <p:blipFill>
          <a:blip r:embed="rId2"/>
          <a:stretch>
            <a:fillRect/>
          </a:stretch>
        </p:blipFill>
        <p:spPr>
          <a:xfrm>
            <a:off x="452417" y="1715819"/>
            <a:ext cx="8602748" cy="3300681"/>
          </a:xfrm>
          <a:prstGeom prst="rect">
            <a:avLst/>
          </a:prstGeom>
        </p:spPr>
      </p:pic>
      <p:sp>
        <p:nvSpPr>
          <p:cNvPr id="4" name="Text Placeholder 3">
            <a:extLst>
              <a:ext uri="{FF2B5EF4-FFF2-40B4-BE49-F238E27FC236}">
                <a16:creationId xmlns:a16="http://schemas.microsoft.com/office/drawing/2014/main" id="{6B27C123-2BC6-B76A-6141-5B1D413A255B}"/>
              </a:ext>
            </a:extLst>
          </p:cNvPr>
          <p:cNvSpPr>
            <a:spLocks noGrp="1"/>
          </p:cNvSpPr>
          <p:nvPr>
            <p:ph type="body" sz="half" idx="2"/>
          </p:nvPr>
        </p:nvSpPr>
        <p:spPr/>
        <p:txBody>
          <a:bodyPr/>
          <a:lstStyle/>
          <a:p>
            <a:endParaRPr lang="en-US"/>
          </a:p>
        </p:txBody>
      </p:sp>
    </p:spTree>
    <p:extLst>
      <p:ext uri="{BB962C8B-B14F-4D97-AF65-F5344CB8AC3E}">
        <p14:creationId xmlns:p14="http://schemas.microsoft.com/office/powerpoint/2010/main" val="7790515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D3E0A24-F0A3-F04C-BD7C-42987DA04792}"/>
              </a:ext>
            </a:extLst>
          </p:cNvPr>
          <p:cNvSpPr>
            <a:spLocks noGrp="1"/>
          </p:cNvSpPr>
          <p:nvPr>
            <p:ph type="body" sz="quarter" idx="12"/>
          </p:nvPr>
        </p:nvSpPr>
        <p:spPr/>
        <p:txBody>
          <a:bodyPr/>
          <a:lstStyle/>
          <a:p>
            <a:r>
              <a:rPr lang="en-US" dirty="0"/>
              <a:t>Thank you!</a:t>
            </a:r>
          </a:p>
        </p:txBody>
      </p:sp>
    </p:spTree>
    <p:extLst>
      <p:ext uri="{BB962C8B-B14F-4D97-AF65-F5344CB8AC3E}">
        <p14:creationId xmlns:p14="http://schemas.microsoft.com/office/powerpoint/2010/main" val="7754502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2340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984C44A-20A2-194E-AAAC-BDE0E66A072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3984C44A-20A2-194E-AAAC-BDE0E66A072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5DC43B8A-75D4-6D4E-BE20-E610B014CCFB}"/>
              </a:ext>
            </a:extLst>
          </p:cNvPr>
          <p:cNvSpPr>
            <a:spLocks noGrp="1"/>
          </p:cNvSpPr>
          <p:nvPr>
            <p:ph type="title"/>
          </p:nvPr>
        </p:nvSpPr>
        <p:spPr/>
        <p:txBody>
          <a:bodyPr/>
          <a:lstStyle/>
          <a:p>
            <a:r>
              <a:rPr lang="en-US" dirty="0"/>
              <a:t>Objective</a:t>
            </a:r>
          </a:p>
        </p:txBody>
      </p:sp>
      <p:sp>
        <p:nvSpPr>
          <p:cNvPr id="9" name="Content Placeholder 8">
            <a:extLst>
              <a:ext uri="{FF2B5EF4-FFF2-40B4-BE49-F238E27FC236}">
                <a16:creationId xmlns:a16="http://schemas.microsoft.com/office/drawing/2014/main" id="{59FF59FE-2C21-5F45-90F1-3AAFD7CCA883}"/>
              </a:ext>
            </a:extLst>
          </p:cNvPr>
          <p:cNvSpPr>
            <a:spLocks noGrp="1"/>
          </p:cNvSpPr>
          <p:nvPr>
            <p:ph idx="1"/>
          </p:nvPr>
        </p:nvSpPr>
        <p:spPr/>
        <p:txBody>
          <a:bodyPr vert="horz" lIns="0" tIns="0" rIns="0" bIns="0" rtlCol="0" anchor="t">
            <a:noAutofit/>
          </a:bodyPr>
          <a:lstStyle/>
          <a:p>
            <a:r>
              <a:rPr lang="en-US" sz="1400">
                <a:solidFill>
                  <a:srgbClr val="000000"/>
                </a:solidFill>
                <a:latin typeface="Calibri"/>
                <a:ea typeface="Calibri"/>
                <a:cs typeface="Calibri"/>
              </a:rPr>
              <a:t>The code aims to detect and resolve duplicate provider addresses using a multi-step approach:</a:t>
            </a:r>
            <a:endParaRPr lang="en-US"/>
          </a:p>
          <a:p>
            <a:r>
              <a:rPr lang="en-US" sz="1400">
                <a:solidFill>
                  <a:srgbClr val="000000"/>
                </a:solidFill>
                <a:latin typeface="Calibri"/>
                <a:ea typeface="Calibri"/>
                <a:cs typeface="Calibri"/>
              </a:rPr>
              <a:t>1. LLM-Based Address Pairing:</a:t>
            </a:r>
            <a:endParaRPr lang="en-US"/>
          </a:p>
          <a:p>
            <a:r>
              <a:rPr lang="en-US" sz="1400">
                <a:solidFill>
                  <a:srgbClr val="000000"/>
                </a:solidFill>
                <a:latin typeface="Calibri"/>
                <a:ea typeface="Calibri"/>
                <a:cs typeface="Calibri"/>
              </a:rPr>
              <a:t>   - Uses Snowflake Llama to identify potential address matches.</a:t>
            </a:r>
            <a:endParaRPr lang="en-US"/>
          </a:p>
          <a:p>
            <a:r>
              <a:rPr lang="en-US" sz="1400">
                <a:solidFill>
                  <a:srgbClr val="000000"/>
                </a:solidFill>
                <a:latin typeface="Calibri"/>
                <a:ea typeface="Calibri"/>
                <a:cs typeface="Calibri"/>
              </a:rPr>
              <a:t>2. Graph-Based Grouping:</a:t>
            </a:r>
            <a:endParaRPr lang="en-US"/>
          </a:p>
          <a:p>
            <a:r>
              <a:rPr lang="en-US" sz="1400">
                <a:solidFill>
                  <a:srgbClr val="000000"/>
                </a:solidFill>
                <a:latin typeface="Calibri"/>
                <a:ea typeface="Calibri"/>
                <a:cs typeface="Calibri"/>
              </a:rPr>
              <a:t>   - Applies disjoint set union (DSU) to group related addresses.</a:t>
            </a:r>
            <a:endParaRPr lang="en-US"/>
          </a:p>
          <a:p>
            <a:r>
              <a:rPr lang="en-US" sz="1400">
                <a:solidFill>
                  <a:srgbClr val="000000"/>
                </a:solidFill>
                <a:latin typeface="Calibri"/>
                <a:ea typeface="Calibri"/>
                <a:cs typeface="Calibri"/>
              </a:rPr>
              <a:t>3. Winning Address Determination:</a:t>
            </a:r>
            <a:endParaRPr lang="en-US"/>
          </a:p>
          <a:p>
            <a:r>
              <a:rPr lang="en-US" sz="1400">
                <a:solidFill>
                  <a:srgbClr val="000000"/>
                </a:solidFill>
                <a:latin typeface="Calibri"/>
                <a:ea typeface="Calibri"/>
                <a:cs typeface="Calibri"/>
              </a:rPr>
              <a:t>   - Applies business rules to select the most appropriate address.</a:t>
            </a:r>
            <a:endParaRPr lang="en-US"/>
          </a:p>
          <a:p>
            <a:endParaRPr lang="en-US" sz="1400">
              <a:solidFill>
                <a:srgbClr val="000000"/>
              </a:solidFill>
              <a:latin typeface="Calibri"/>
              <a:ea typeface="Calibri"/>
              <a:cs typeface="Calibri"/>
            </a:endParaRPr>
          </a:p>
          <a:p>
            <a:endParaRPr lang="en-US">
              <a:latin typeface="Elevance Sans Medium"/>
            </a:endParaRPr>
          </a:p>
        </p:txBody>
      </p:sp>
    </p:spTree>
    <p:extLst>
      <p:ext uri="{BB962C8B-B14F-4D97-AF65-F5344CB8AC3E}">
        <p14:creationId xmlns:p14="http://schemas.microsoft.com/office/powerpoint/2010/main" val="5812210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2AD801-A10C-59A4-C3ED-A2ADF6EB9010}"/>
              </a:ext>
            </a:extLst>
          </p:cNvPr>
          <p:cNvSpPr>
            <a:spLocks noGrp="1"/>
          </p:cNvSpPr>
          <p:nvPr>
            <p:ph type="title"/>
          </p:nvPr>
        </p:nvSpPr>
        <p:spPr/>
        <p:txBody>
          <a:bodyPr/>
          <a:lstStyle/>
          <a:p>
            <a:r>
              <a:rPr lang="en-US" dirty="0"/>
              <a:t>Causes of Address Discrepancies</a:t>
            </a:r>
          </a:p>
        </p:txBody>
      </p:sp>
      <p:pic>
        <p:nvPicPr>
          <p:cNvPr id="4" name="Content Placeholder 3" descr="A screenshot of a black background with text&#10;&#10;AI-generated content may be incorrect.">
            <a:extLst>
              <a:ext uri="{FF2B5EF4-FFF2-40B4-BE49-F238E27FC236}">
                <a16:creationId xmlns:a16="http://schemas.microsoft.com/office/drawing/2014/main" id="{D89B43FA-12B9-F1B9-C942-631F77C265C4}"/>
              </a:ext>
            </a:extLst>
          </p:cNvPr>
          <p:cNvPicPr>
            <a:picLocks noGrp="1" noChangeAspect="1"/>
          </p:cNvPicPr>
          <p:nvPr>
            <p:ph idx="1"/>
          </p:nvPr>
        </p:nvPicPr>
        <p:blipFill>
          <a:blip r:embed="rId3"/>
          <a:stretch>
            <a:fillRect/>
          </a:stretch>
        </p:blipFill>
        <p:spPr>
          <a:xfrm>
            <a:off x="1577766" y="1715819"/>
            <a:ext cx="7701879" cy="4313052"/>
          </a:xfrm>
          <a:prstGeom prst="rect">
            <a:avLst/>
          </a:prstGeom>
        </p:spPr>
      </p:pic>
    </p:spTree>
    <p:extLst>
      <p:ext uri="{BB962C8B-B14F-4D97-AF65-F5344CB8AC3E}">
        <p14:creationId xmlns:p14="http://schemas.microsoft.com/office/powerpoint/2010/main" val="590205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0B0385-709B-0434-A7E5-518A70B72CB0}"/>
              </a:ext>
            </a:extLst>
          </p:cNvPr>
          <p:cNvSpPr>
            <a:spLocks noGrp="1"/>
          </p:cNvSpPr>
          <p:nvPr>
            <p:ph type="title"/>
          </p:nvPr>
        </p:nvSpPr>
        <p:spPr/>
        <p:txBody>
          <a:bodyPr/>
          <a:lstStyle/>
          <a:p>
            <a:r>
              <a:rPr lang="en-US" dirty="0"/>
              <a:t>Data Sources</a:t>
            </a:r>
          </a:p>
        </p:txBody>
      </p:sp>
      <p:sp>
        <p:nvSpPr>
          <p:cNvPr id="3" name="Content Placeholder 2">
            <a:extLst>
              <a:ext uri="{FF2B5EF4-FFF2-40B4-BE49-F238E27FC236}">
                <a16:creationId xmlns:a16="http://schemas.microsoft.com/office/drawing/2014/main" id="{119CC90B-095E-3388-638C-50ED07AA1628}"/>
              </a:ext>
            </a:extLst>
          </p:cNvPr>
          <p:cNvSpPr>
            <a:spLocks noGrp="1"/>
          </p:cNvSpPr>
          <p:nvPr>
            <p:ph idx="1"/>
          </p:nvPr>
        </p:nvSpPr>
        <p:spPr/>
        <p:txBody>
          <a:bodyPr vert="horz" lIns="0" tIns="0" rIns="0" bIns="0" rtlCol="0" anchor="t">
            <a:noAutofit/>
          </a:bodyPr>
          <a:lstStyle/>
          <a:p>
            <a:r>
              <a:rPr lang="en-US" sz="1500">
                <a:latin typeface="Elevance Sans Medium"/>
              </a:rPr>
              <a:t>Tables Utilized:</a:t>
            </a:r>
            <a:endParaRPr lang="en-US"/>
          </a:p>
          <a:p>
            <a:pPr marL="285750" indent="-285750">
              <a:buFont typeface="Wingdings" pitchFamily="2" charset="0"/>
              <a:buChar char="Ø"/>
            </a:pPr>
            <a:r>
              <a:rPr lang="en-US" sz="1500">
                <a:latin typeface="Elevance Sans Medium"/>
              </a:rPr>
              <a:t>POA_NTWK, STNDRDZD_ADRS, CLM_WGS_GNCNATP_EA1_CMPCT - Network and address standardization.</a:t>
            </a:r>
          </a:p>
          <a:p>
            <a:pPr marL="285750" indent="-285750">
              <a:buFont typeface="Wingdings" pitchFamily="2" charset="0"/>
              <a:buChar char="Ø"/>
            </a:pPr>
            <a:r>
              <a:rPr lang="en-US" sz="1500">
                <a:latin typeface="Elevance Sans Medium"/>
              </a:rPr>
              <a:t>POA, PROV, CD_VAL - Provider information and classification.</a:t>
            </a:r>
            <a:endParaRPr lang="en-US"/>
          </a:p>
          <a:p>
            <a:pPr marL="285750" indent="-285750">
              <a:buFont typeface="Wingdings" pitchFamily="2" charset="0"/>
              <a:buChar char="Ø"/>
            </a:pPr>
            <a:r>
              <a:rPr lang="en-US" sz="1500">
                <a:latin typeface="Elevance Sans Medium"/>
              </a:rPr>
              <a:t>RLTD_PADRS_NTWK, RLTD_PADRS, PROV_ORG_NTWK - Related provider addresses and organizational networks.</a:t>
            </a:r>
            <a:endParaRPr lang="en-US"/>
          </a:p>
          <a:p>
            <a:pPr marL="285750" indent="-285750">
              <a:buFont typeface="Wingdings" pitchFamily="2" charset="0"/>
              <a:buChar char="Ø"/>
            </a:pPr>
            <a:r>
              <a:rPr lang="en-US" sz="1500">
                <a:latin typeface="Elevance Sans Medium"/>
              </a:rPr>
              <a:t>NTWK, GRPG_POA_NTWK, GRPG_RLTD_PADRS_NTWK - Network details.</a:t>
            </a:r>
            <a:endParaRPr lang="en-US"/>
          </a:p>
          <a:p>
            <a:pPr marL="285750" indent="-285750">
              <a:buFont typeface="Wingdings" pitchFamily="2" charset="0"/>
              <a:buChar char="Ø"/>
            </a:pPr>
            <a:r>
              <a:rPr lang="en-US" sz="1500">
                <a:latin typeface="Elevance Sans Medium"/>
              </a:rPr>
              <a:t>RMTNC, POA_RMTNC, POA_NTWK_ALT_IDFCTN - Payment remittance and alternate identification.</a:t>
            </a:r>
            <a:endParaRPr lang="en-US"/>
          </a:p>
          <a:p>
            <a:pPr marL="285750" indent="-285750">
              <a:buFont typeface="Wingdings" pitchFamily="2" charset="0"/>
              <a:buChar char="Ø"/>
            </a:pPr>
            <a:r>
              <a:rPr lang="en-US" sz="1500">
                <a:latin typeface="Elevance Sans Medium"/>
              </a:rPr>
              <a:t>IND_ZIP_CD, POA_ALT_IDFCTN, RLTD_PADRS_NW_ALT_IDFCTN - Geographical and alternate ID information.</a:t>
            </a:r>
            <a:endParaRPr lang="en-US"/>
          </a:p>
          <a:p>
            <a:endParaRPr lang="en-US" dirty="0"/>
          </a:p>
          <a:p>
            <a:endParaRPr lang="en-US" dirty="0"/>
          </a:p>
        </p:txBody>
      </p:sp>
    </p:spTree>
    <p:extLst>
      <p:ext uri="{BB962C8B-B14F-4D97-AF65-F5344CB8AC3E}">
        <p14:creationId xmlns:p14="http://schemas.microsoft.com/office/powerpoint/2010/main" val="28309940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E5C2D1-B1F4-E755-BD74-A9482A530DBD}"/>
              </a:ext>
            </a:extLst>
          </p:cNvPr>
          <p:cNvSpPr>
            <a:spLocks noGrp="1"/>
          </p:cNvSpPr>
          <p:nvPr>
            <p:ph type="title"/>
          </p:nvPr>
        </p:nvSpPr>
        <p:spPr/>
        <p:txBody>
          <a:bodyPr/>
          <a:lstStyle/>
          <a:p>
            <a:r>
              <a:rPr lang="en-US" dirty="0"/>
              <a:t>LLM-based Address Pairing and Validation</a:t>
            </a:r>
          </a:p>
        </p:txBody>
      </p:sp>
      <p:sp>
        <p:nvSpPr>
          <p:cNvPr id="3" name="Content Placeholder 2">
            <a:extLst>
              <a:ext uri="{FF2B5EF4-FFF2-40B4-BE49-F238E27FC236}">
                <a16:creationId xmlns:a16="http://schemas.microsoft.com/office/drawing/2014/main" id="{AD713396-23CC-8EF9-57D7-9001A2E7DB56}"/>
              </a:ext>
            </a:extLst>
          </p:cNvPr>
          <p:cNvSpPr>
            <a:spLocks noGrp="1"/>
          </p:cNvSpPr>
          <p:nvPr>
            <p:ph idx="1"/>
          </p:nvPr>
        </p:nvSpPr>
        <p:spPr/>
        <p:txBody>
          <a:bodyPr vert="horz" lIns="0" tIns="0" rIns="0" bIns="0" rtlCol="0" anchor="t">
            <a:noAutofit/>
          </a:bodyPr>
          <a:lstStyle/>
          <a:p>
            <a:pPr marL="342900" indent="-342900">
              <a:buFont typeface="Wingdings" pitchFamily="2" charset="0"/>
              <a:buChar char="Ø"/>
            </a:pPr>
            <a:r>
              <a:rPr lang="en-US" sz="1900">
                <a:latin typeface="Elevance Sans Medium"/>
              </a:rPr>
              <a:t>Functionality: Using snowflake-llama-3.1-405b, the LLM models' language patterns to identify potential matching addresses by interpreting variances in natural linguistic structure.</a:t>
            </a:r>
            <a:endParaRPr lang="en-US" sz="1900"/>
          </a:p>
          <a:p>
            <a:pPr marL="342900" indent="-342900">
              <a:buFont typeface="Wingdings" pitchFamily="2" charset="0"/>
              <a:buChar char="Ø"/>
            </a:pPr>
            <a:r>
              <a:rPr lang="en-US" sz="1900">
                <a:latin typeface="Elevance Sans Medium"/>
              </a:rPr>
              <a:t>Function: create_paired_dataframe_step1: Extracts and pairs address components considering linguistic nuances through regex and heuristic approaches.</a:t>
            </a:r>
            <a:endParaRPr lang="en-US"/>
          </a:p>
          <a:p>
            <a:pPr marL="342900" indent="-342900">
              <a:buFont typeface="Wingdings" pitchFamily="2" charset="0"/>
              <a:buChar char="Ø"/>
            </a:pPr>
            <a:r>
              <a:rPr lang="en-US" sz="1900">
                <a:latin typeface="Elevance Sans Medium"/>
              </a:rPr>
              <a:t>Function: process_llm_comparisons: Evaluates potential address matches, assigning flags to guide further review and filter true positives.</a:t>
            </a:r>
            <a:endParaRPr lang="en-US"/>
          </a:p>
          <a:p>
            <a:pPr marL="342900" indent="-342900">
              <a:buFont typeface="Wingdings" pitchFamily="2" charset="0"/>
              <a:buChar char="Ø"/>
            </a:pPr>
            <a:r>
              <a:rPr lang="en-US" sz="1900">
                <a:latin typeface="Elevance Sans Medium"/>
              </a:rPr>
              <a:t>Outcome: Provides a curated set of address pairings based on language model predictions, forming the foundation for deeper analysis.</a:t>
            </a:r>
            <a:endParaRPr lang="en-US"/>
          </a:p>
          <a:p>
            <a:endParaRPr lang="en-US"/>
          </a:p>
          <a:p>
            <a:endParaRPr lang="en-US" dirty="0"/>
          </a:p>
        </p:txBody>
      </p:sp>
    </p:spTree>
    <p:extLst>
      <p:ext uri="{BB962C8B-B14F-4D97-AF65-F5344CB8AC3E}">
        <p14:creationId xmlns:p14="http://schemas.microsoft.com/office/powerpoint/2010/main" val="18056097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A5938-2C6E-C363-1251-D468845D73D6}"/>
              </a:ext>
            </a:extLst>
          </p:cNvPr>
          <p:cNvSpPr>
            <a:spLocks noGrp="1"/>
          </p:cNvSpPr>
          <p:nvPr>
            <p:ph type="title"/>
          </p:nvPr>
        </p:nvSpPr>
        <p:spPr/>
        <p:txBody>
          <a:bodyPr/>
          <a:lstStyle/>
          <a:p>
            <a:r>
              <a:rPr lang="en-US" dirty="0"/>
              <a:t>Transition from LLM to Graph Approach</a:t>
            </a:r>
          </a:p>
        </p:txBody>
      </p:sp>
      <p:sp>
        <p:nvSpPr>
          <p:cNvPr id="3" name="Content Placeholder 2">
            <a:extLst>
              <a:ext uri="{FF2B5EF4-FFF2-40B4-BE49-F238E27FC236}">
                <a16:creationId xmlns:a16="http://schemas.microsoft.com/office/drawing/2014/main" id="{23B04CD5-FEA0-2939-79A7-E6DF57A9783A}"/>
              </a:ext>
            </a:extLst>
          </p:cNvPr>
          <p:cNvSpPr>
            <a:spLocks noGrp="1"/>
          </p:cNvSpPr>
          <p:nvPr>
            <p:ph idx="1"/>
          </p:nvPr>
        </p:nvSpPr>
        <p:spPr/>
        <p:txBody>
          <a:bodyPr vert="horz" lIns="0" tIns="0" rIns="0" bIns="0" rtlCol="0" anchor="t">
            <a:noAutofit/>
          </a:bodyPr>
          <a:lstStyle/>
          <a:p>
            <a:pPr marL="342900" indent="-342900" algn="just">
              <a:buFont typeface="Arial" panose="020B0604020202020204" pitchFamily="34" charset="0"/>
              <a:buChar char="•"/>
            </a:pPr>
            <a:endParaRPr lang="en-US" dirty="0">
              <a:latin typeface="+mj-lt"/>
            </a:endParaRPr>
          </a:p>
          <a:p>
            <a:pPr marL="342900" indent="-342900">
              <a:buFont typeface="Arial" panose="020B0604020202020204" pitchFamily="34" charset="0"/>
              <a:buChar char="•"/>
            </a:pPr>
            <a:endParaRPr lang="en-US" dirty="0">
              <a:effectLst/>
            </a:endParaRPr>
          </a:p>
          <a:p>
            <a:endParaRPr lang="en-US" dirty="0">
              <a:effectLst/>
            </a:endParaRPr>
          </a:p>
          <a:p>
            <a:endParaRPr lang="en-US" dirty="0"/>
          </a:p>
          <a:p>
            <a:endParaRPr lang="en-US" dirty="0"/>
          </a:p>
          <a:p>
            <a:endParaRPr lang="en-US" dirty="0"/>
          </a:p>
        </p:txBody>
      </p:sp>
      <p:pic>
        <p:nvPicPr>
          <p:cNvPr id="5" name="Picture 4" descr="A black and purple rectangle with white text&#10;&#10;AI-generated content may be incorrect.">
            <a:extLst>
              <a:ext uri="{FF2B5EF4-FFF2-40B4-BE49-F238E27FC236}">
                <a16:creationId xmlns:a16="http://schemas.microsoft.com/office/drawing/2014/main" id="{343C552C-8223-F107-12F7-3EAD1867EBE9}"/>
              </a:ext>
            </a:extLst>
          </p:cNvPr>
          <p:cNvPicPr>
            <a:picLocks noChangeAspect="1"/>
          </p:cNvPicPr>
          <p:nvPr/>
        </p:nvPicPr>
        <p:blipFill>
          <a:blip r:embed="rId3"/>
          <a:stretch>
            <a:fillRect/>
          </a:stretch>
        </p:blipFill>
        <p:spPr>
          <a:xfrm>
            <a:off x="458407" y="1714433"/>
            <a:ext cx="8259383" cy="4319923"/>
          </a:xfrm>
          <a:prstGeom prst="rect">
            <a:avLst/>
          </a:prstGeom>
        </p:spPr>
      </p:pic>
    </p:spTree>
    <p:extLst>
      <p:ext uri="{BB962C8B-B14F-4D97-AF65-F5344CB8AC3E}">
        <p14:creationId xmlns:p14="http://schemas.microsoft.com/office/powerpoint/2010/main" val="9045954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811027-7410-A16A-936F-78D2574C2EB9}"/>
              </a:ext>
            </a:extLst>
          </p:cNvPr>
          <p:cNvSpPr>
            <a:spLocks noGrp="1"/>
          </p:cNvSpPr>
          <p:nvPr>
            <p:ph type="title"/>
          </p:nvPr>
        </p:nvSpPr>
        <p:spPr/>
        <p:txBody>
          <a:bodyPr/>
          <a:lstStyle/>
          <a:p>
            <a:r>
              <a:rPr lang="en-US" dirty="0"/>
              <a:t>Graph-based Grouping and Analysis</a:t>
            </a:r>
          </a:p>
        </p:txBody>
      </p:sp>
      <p:pic>
        <p:nvPicPr>
          <p:cNvPr id="11" name="Content Placeholder 10" descr="A black background with yellow and purple text&#10;&#10;AI-generated content may be incorrect.">
            <a:extLst>
              <a:ext uri="{FF2B5EF4-FFF2-40B4-BE49-F238E27FC236}">
                <a16:creationId xmlns:a16="http://schemas.microsoft.com/office/drawing/2014/main" id="{1FAACEBA-EE23-0EC3-4C55-DD05C76FCDDE}"/>
              </a:ext>
            </a:extLst>
          </p:cNvPr>
          <p:cNvPicPr>
            <a:picLocks noGrp="1" noChangeAspect="1"/>
          </p:cNvPicPr>
          <p:nvPr>
            <p:ph idx="1"/>
          </p:nvPr>
        </p:nvPicPr>
        <p:blipFill>
          <a:blip r:embed="rId3"/>
          <a:stretch>
            <a:fillRect/>
          </a:stretch>
        </p:blipFill>
        <p:spPr>
          <a:xfrm>
            <a:off x="453919" y="1716135"/>
            <a:ext cx="7920098" cy="4313052"/>
          </a:xfrm>
          <a:prstGeom prst="rect">
            <a:avLst/>
          </a:prstGeom>
        </p:spPr>
      </p:pic>
    </p:spTree>
    <p:extLst>
      <p:ext uri="{BB962C8B-B14F-4D97-AF65-F5344CB8AC3E}">
        <p14:creationId xmlns:p14="http://schemas.microsoft.com/office/powerpoint/2010/main" val="42515204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EBF5DD-3273-B21A-A7E6-DB76A6C99587}"/>
              </a:ext>
            </a:extLst>
          </p:cNvPr>
          <p:cNvSpPr>
            <a:spLocks noGrp="1"/>
          </p:cNvSpPr>
          <p:nvPr>
            <p:ph type="title"/>
          </p:nvPr>
        </p:nvSpPr>
        <p:spPr/>
        <p:txBody>
          <a:bodyPr/>
          <a:lstStyle/>
          <a:p>
            <a:r>
              <a:rPr lang="en-US" dirty="0"/>
              <a:t>Sample Data</a:t>
            </a:r>
          </a:p>
        </p:txBody>
      </p:sp>
      <p:graphicFrame>
        <p:nvGraphicFramePr>
          <p:cNvPr id="12" name="Table 11">
            <a:extLst>
              <a:ext uri="{FF2B5EF4-FFF2-40B4-BE49-F238E27FC236}">
                <a16:creationId xmlns:a16="http://schemas.microsoft.com/office/drawing/2014/main" id="{F25EDFB1-23C4-D67B-AD2C-8AFCB768037F}"/>
              </a:ext>
            </a:extLst>
          </p:cNvPr>
          <p:cNvGraphicFramePr>
            <a:graphicFrameLocks noGrp="1"/>
          </p:cNvGraphicFramePr>
          <p:nvPr>
            <p:extLst>
              <p:ext uri="{D42A27DB-BD31-4B8C-83A1-F6EECF244321}">
                <p14:modId xmlns:p14="http://schemas.microsoft.com/office/powerpoint/2010/main" val="1677852778"/>
              </p:ext>
            </p:extLst>
          </p:nvPr>
        </p:nvGraphicFramePr>
        <p:xfrm>
          <a:off x="453611" y="1339267"/>
          <a:ext cx="7353299" cy="1389027"/>
        </p:xfrm>
        <a:graphic>
          <a:graphicData uri="http://schemas.openxmlformats.org/drawingml/2006/table">
            <a:tbl>
              <a:tblPr bandRow="1">
                <a:tableStyleId>{5C22544A-7EE6-4342-B048-85BDC9FD1C3A}</a:tableStyleId>
              </a:tblPr>
              <a:tblGrid>
                <a:gridCol w="1343879">
                  <a:extLst>
                    <a:ext uri="{9D8B030D-6E8A-4147-A177-3AD203B41FA5}">
                      <a16:colId xmlns:a16="http://schemas.microsoft.com/office/drawing/2014/main" val="2264581178"/>
                    </a:ext>
                  </a:extLst>
                </a:gridCol>
                <a:gridCol w="2003140">
                  <a:extLst>
                    <a:ext uri="{9D8B030D-6E8A-4147-A177-3AD203B41FA5}">
                      <a16:colId xmlns:a16="http://schemas.microsoft.com/office/drawing/2014/main" val="3797851879"/>
                    </a:ext>
                  </a:extLst>
                </a:gridCol>
                <a:gridCol w="2003140">
                  <a:extLst>
                    <a:ext uri="{9D8B030D-6E8A-4147-A177-3AD203B41FA5}">
                      <a16:colId xmlns:a16="http://schemas.microsoft.com/office/drawing/2014/main" val="3218188418"/>
                    </a:ext>
                  </a:extLst>
                </a:gridCol>
                <a:gridCol w="2003140">
                  <a:extLst>
                    <a:ext uri="{9D8B030D-6E8A-4147-A177-3AD203B41FA5}">
                      <a16:colId xmlns:a16="http://schemas.microsoft.com/office/drawing/2014/main" val="1535462089"/>
                    </a:ext>
                  </a:extLst>
                </a:gridCol>
              </a:tblGrid>
              <a:tr h="403267">
                <a:tc>
                  <a:txBody>
                    <a:bodyPr/>
                    <a:lstStyle/>
                    <a:p>
                      <a:pPr marL="0" algn="l" rtl="0" eaLnBrk="1" latinLnBrk="0" hangingPunct="1">
                        <a:buNone/>
                      </a:pPr>
                      <a:r>
                        <a:rPr lang="en-US" sz="1300" b="1" kern="1200" dirty="0">
                          <a:solidFill>
                            <a:srgbClr val="5009B5"/>
                          </a:solidFill>
                          <a:effectLst/>
                          <a:latin typeface="Elevance Sans"/>
                        </a:rPr>
                        <a:t>MSTR_PROV_ID</a:t>
                      </a:r>
                      <a:endParaRPr lang="en-US" dirty="0">
                        <a:effectLst/>
                        <a:latin typeface="Elevance Sans"/>
                      </a:endParaRPr>
                    </a:p>
                  </a:txBody>
                  <a:tcPr marL="0" marR="0" marT="0" marB="0" anchor="ctr">
                    <a:lnL>
                      <a:noFill/>
                    </a:lnL>
                    <a:lnR>
                      <a:noFill/>
                    </a:lnR>
                    <a:lnT>
                      <a:noFill/>
                    </a:lnT>
                    <a:lnB>
                      <a:noFill/>
                    </a:lnB>
                    <a:noFill/>
                  </a:tcPr>
                </a:tc>
                <a:tc>
                  <a:txBody>
                    <a:bodyPr/>
                    <a:lstStyle/>
                    <a:p>
                      <a:pPr marL="0" algn="l" rtl="0" eaLnBrk="1" latinLnBrk="0" hangingPunct="1">
                        <a:buNone/>
                      </a:pPr>
                      <a:r>
                        <a:rPr lang="en-US" sz="1300" b="1" kern="1200" dirty="0">
                          <a:solidFill>
                            <a:srgbClr val="5009B5"/>
                          </a:solidFill>
                          <a:effectLst/>
                          <a:latin typeface="Elevance Sans"/>
                        </a:rPr>
                        <a:t>POA_KEY_1</a:t>
                      </a:r>
                      <a:endParaRPr lang="en-US" dirty="0">
                        <a:effectLst/>
                        <a:latin typeface="Elevance Sans"/>
                      </a:endParaRPr>
                    </a:p>
                  </a:txBody>
                  <a:tcPr marL="0" marR="0" marT="0" marB="0" anchor="ctr">
                    <a:lnL>
                      <a:noFill/>
                    </a:lnL>
                    <a:lnR>
                      <a:noFill/>
                    </a:lnR>
                    <a:lnT>
                      <a:noFill/>
                    </a:lnT>
                    <a:lnB>
                      <a:noFill/>
                    </a:lnB>
                    <a:noFill/>
                  </a:tcPr>
                </a:tc>
                <a:tc>
                  <a:txBody>
                    <a:bodyPr/>
                    <a:lstStyle/>
                    <a:p>
                      <a:pPr marL="0" algn="l" rtl="0" eaLnBrk="1" latinLnBrk="0" hangingPunct="1">
                        <a:buNone/>
                      </a:pPr>
                      <a:r>
                        <a:rPr lang="en-US" sz="1300" b="1" kern="1200" dirty="0">
                          <a:solidFill>
                            <a:srgbClr val="5009B5"/>
                          </a:solidFill>
                          <a:effectLst/>
                          <a:latin typeface="Elevance Sans"/>
                        </a:rPr>
                        <a:t>POA_KEY_2</a:t>
                      </a:r>
                      <a:endParaRPr lang="en-US" dirty="0">
                        <a:effectLst/>
                        <a:latin typeface="Elevance Sans"/>
                      </a:endParaRPr>
                    </a:p>
                  </a:txBody>
                  <a:tcPr marL="0" marR="0" marT="0" marB="0" anchor="ctr">
                    <a:lnL>
                      <a:noFill/>
                    </a:lnL>
                    <a:lnR>
                      <a:noFill/>
                    </a:lnR>
                    <a:lnT>
                      <a:noFill/>
                    </a:lnT>
                    <a:lnB>
                      <a:noFill/>
                    </a:lnB>
                    <a:noFill/>
                  </a:tcPr>
                </a:tc>
                <a:tc>
                  <a:txBody>
                    <a:bodyPr/>
                    <a:lstStyle/>
                    <a:p>
                      <a:pPr marL="0" algn="l" rtl="0" eaLnBrk="1" latinLnBrk="0" hangingPunct="1">
                        <a:buNone/>
                      </a:pPr>
                      <a:r>
                        <a:rPr lang="en-US" sz="1300" b="1" kern="1200" dirty="0">
                          <a:solidFill>
                            <a:srgbClr val="5009B5"/>
                          </a:solidFill>
                          <a:effectLst/>
                          <a:latin typeface="Elevance Sans"/>
                        </a:rPr>
                        <a:t>IS_ADDRESS_SAME</a:t>
                      </a:r>
                      <a:endParaRPr lang="en-US" dirty="0">
                        <a:effectLst/>
                        <a:latin typeface="Elevance Sans"/>
                      </a:endParaRPr>
                    </a:p>
                  </a:txBody>
                  <a:tcPr marL="0" marR="0" marT="0" marB="0" anchor="ctr">
                    <a:lnL>
                      <a:noFill/>
                    </a:lnL>
                    <a:lnR>
                      <a:noFill/>
                    </a:lnR>
                    <a:lnT>
                      <a:noFill/>
                    </a:lnT>
                    <a:lnB>
                      <a:noFill/>
                    </a:lnB>
                    <a:noFill/>
                  </a:tcPr>
                </a:tc>
                <a:extLst>
                  <a:ext uri="{0D108BD9-81ED-4DB2-BD59-A6C34878D82A}">
                    <a16:rowId xmlns:a16="http://schemas.microsoft.com/office/drawing/2014/main" val="3736869908"/>
                  </a:ext>
                </a:extLst>
              </a:tr>
              <a:tr h="246440">
                <a:tc>
                  <a:txBody>
                    <a:bodyPr/>
                    <a:lstStyle/>
                    <a:p>
                      <a:pPr marL="0" algn="l" rtl="0" eaLnBrk="1" latinLnBrk="0" hangingPunct="1">
                        <a:buNone/>
                      </a:pPr>
                      <a:r>
                        <a:rPr lang="en-US" sz="1300" kern="1200" dirty="0">
                          <a:solidFill>
                            <a:srgbClr val="5009B5"/>
                          </a:solidFill>
                          <a:effectLst/>
                          <a:latin typeface="Elevance Sans"/>
                        </a:rPr>
                        <a:t>1001</a:t>
                      </a:r>
                      <a:endParaRPr lang="en-US" dirty="0">
                        <a:effectLst/>
                        <a:latin typeface="Elevance Sans"/>
                      </a:endParaRPr>
                    </a:p>
                  </a:txBody>
                  <a:tcPr marL="0" marR="0" marT="0" marB="0" anchor="ctr">
                    <a:lnL>
                      <a:noFill/>
                    </a:lnL>
                    <a:lnR>
                      <a:noFill/>
                    </a:lnR>
                    <a:lnT>
                      <a:noFill/>
                    </a:lnT>
                    <a:lnB>
                      <a:noFill/>
                    </a:lnB>
                    <a:noFill/>
                  </a:tcPr>
                </a:tc>
                <a:tc>
                  <a:txBody>
                    <a:bodyPr/>
                    <a:lstStyle/>
                    <a:p>
                      <a:pPr marL="0" algn="l" rtl="0" eaLnBrk="1" latinLnBrk="0" hangingPunct="1">
                        <a:buNone/>
                      </a:pPr>
                      <a:r>
                        <a:rPr lang="en-US" sz="1300" kern="1200" dirty="0">
                          <a:solidFill>
                            <a:srgbClr val="5009B5"/>
                          </a:solidFill>
                          <a:effectLst/>
                          <a:latin typeface="Elevance Sans"/>
                        </a:rPr>
                        <a:t>5001</a:t>
                      </a:r>
                      <a:endParaRPr lang="en-US" dirty="0">
                        <a:effectLst/>
                        <a:latin typeface="Elevance Sans"/>
                      </a:endParaRPr>
                    </a:p>
                  </a:txBody>
                  <a:tcPr marL="0" marR="0" marT="0" marB="0" anchor="ctr">
                    <a:lnL>
                      <a:noFill/>
                    </a:lnL>
                    <a:lnR>
                      <a:noFill/>
                    </a:lnR>
                    <a:lnT>
                      <a:noFill/>
                    </a:lnT>
                    <a:lnB>
                      <a:noFill/>
                    </a:lnB>
                    <a:noFill/>
                  </a:tcPr>
                </a:tc>
                <a:tc>
                  <a:txBody>
                    <a:bodyPr/>
                    <a:lstStyle/>
                    <a:p>
                      <a:pPr marL="0" algn="l" rtl="0" eaLnBrk="1" latinLnBrk="0" hangingPunct="1">
                        <a:buNone/>
                      </a:pPr>
                      <a:r>
                        <a:rPr lang="en-US" sz="1300" kern="1200" dirty="0">
                          <a:solidFill>
                            <a:srgbClr val="5009B5"/>
                          </a:solidFill>
                          <a:effectLst/>
                          <a:latin typeface="Elevance Sans"/>
                        </a:rPr>
                        <a:t>5002</a:t>
                      </a:r>
                      <a:endParaRPr lang="en-US" dirty="0">
                        <a:effectLst/>
                        <a:latin typeface="Elevance Sans"/>
                      </a:endParaRPr>
                    </a:p>
                  </a:txBody>
                  <a:tcPr marL="0" marR="0" marT="0" marB="0" anchor="ctr">
                    <a:lnL>
                      <a:noFill/>
                    </a:lnL>
                    <a:lnR>
                      <a:noFill/>
                    </a:lnR>
                    <a:lnT>
                      <a:noFill/>
                    </a:lnT>
                    <a:lnB>
                      <a:noFill/>
                    </a:lnB>
                    <a:noFill/>
                  </a:tcPr>
                </a:tc>
                <a:tc>
                  <a:txBody>
                    <a:bodyPr/>
                    <a:lstStyle/>
                    <a:p>
                      <a:pPr marL="0" algn="l" rtl="0" eaLnBrk="1" latinLnBrk="0" hangingPunct="1">
                        <a:buNone/>
                      </a:pPr>
                      <a:r>
                        <a:rPr lang="en-US" sz="1300" kern="1200" dirty="0">
                          <a:solidFill>
                            <a:srgbClr val="5009B5"/>
                          </a:solidFill>
                          <a:effectLst/>
                          <a:latin typeface="Elevance Sans"/>
                        </a:rPr>
                        <a:t>TRUE</a:t>
                      </a:r>
                      <a:endParaRPr lang="en-US" dirty="0">
                        <a:effectLst/>
                        <a:latin typeface="Elevance Sans"/>
                      </a:endParaRPr>
                    </a:p>
                  </a:txBody>
                  <a:tcPr marL="0" marR="0" marT="0" marB="0" anchor="ctr">
                    <a:lnL>
                      <a:noFill/>
                    </a:lnL>
                    <a:lnR>
                      <a:noFill/>
                    </a:lnR>
                    <a:lnT>
                      <a:noFill/>
                    </a:lnT>
                    <a:lnB>
                      <a:noFill/>
                    </a:lnB>
                    <a:noFill/>
                  </a:tcPr>
                </a:tc>
                <a:extLst>
                  <a:ext uri="{0D108BD9-81ED-4DB2-BD59-A6C34878D82A}">
                    <a16:rowId xmlns:a16="http://schemas.microsoft.com/office/drawing/2014/main" val="138343023"/>
                  </a:ext>
                </a:extLst>
              </a:tr>
              <a:tr h="246440">
                <a:tc>
                  <a:txBody>
                    <a:bodyPr/>
                    <a:lstStyle/>
                    <a:p>
                      <a:pPr marL="0" algn="l" rtl="0" eaLnBrk="1" latinLnBrk="0" hangingPunct="1">
                        <a:buNone/>
                      </a:pPr>
                      <a:r>
                        <a:rPr lang="en-US" sz="1300" kern="1200" dirty="0">
                          <a:solidFill>
                            <a:srgbClr val="5009B5"/>
                          </a:solidFill>
                          <a:effectLst/>
                          <a:latin typeface="Elevance Sans"/>
                        </a:rPr>
                        <a:t>1001</a:t>
                      </a:r>
                      <a:endParaRPr lang="en-US" dirty="0">
                        <a:effectLst/>
                        <a:latin typeface="Elevance Sans"/>
                      </a:endParaRPr>
                    </a:p>
                  </a:txBody>
                  <a:tcPr marL="0" marR="0" marT="0" marB="0" anchor="ctr">
                    <a:lnL>
                      <a:noFill/>
                    </a:lnL>
                    <a:lnR>
                      <a:noFill/>
                    </a:lnR>
                    <a:lnT>
                      <a:noFill/>
                    </a:lnT>
                    <a:lnB>
                      <a:noFill/>
                    </a:lnB>
                    <a:noFill/>
                  </a:tcPr>
                </a:tc>
                <a:tc>
                  <a:txBody>
                    <a:bodyPr/>
                    <a:lstStyle/>
                    <a:p>
                      <a:pPr marL="0" algn="l" rtl="0" eaLnBrk="1" latinLnBrk="0" hangingPunct="1">
                        <a:buNone/>
                      </a:pPr>
                      <a:r>
                        <a:rPr lang="en-US" sz="1300" kern="1200" dirty="0">
                          <a:solidFill>
                            <a:srgbClr val="5009B5"/>
                          </a:solidFill>
                          <a:effectLst/>
                          <a:latin typeface="Elevance Sans"/>
                        </a:rPr>
                        <a:t>5003</a:t>
                      </a:r>
                      <a:endParaRPr lang="en-US" dirty="0">
                        <a:effectLst/>
                        <a:latin typeface="Elevance Sans"/>
                      </a:endParaRPr>
                    </a:p>
                  </a:txBody>
                  <a:tcPr marL="0" marR="0" marT="0" marB="0" anchor="ctr">
                    <a:lnL>
                      <a:noFill/>
                    </a:lnL>
                    <a:lnR>
                      <a:noFill/>
                    </a:lnR>
                    <a:lnT>
                      <a:noFill/>
                    </a:lnT>
                    <a:lnB>
                      <a:noFill/>
                    </a:lnB>
                    <a:noFill/>
                  </a:tcPr>
                </a:tc>
                <a:tc>
                  <a:txBody>
                    <a:bodyPr/>
                    <a:lstStyle/>
                    <a:p>
                      <a:pPr marL="0" algn="l" rtl="0" eaLnBrk="1" latinLnBrk="0" hangingPunct="1">
                        <a:buNone/>
                      </a:pPr>
                      <a:r>
                        <a:rPr lang="en-US" sz="1300" kern="1200" dirty="0">
                          <a:solidFill>
                            <a:srgbClr val="5009B5"/>
                          </a:solidFill>
                          <a:effectLst/>
                          <a:latin typeface="Elevance Sans"/>
                        </a:rPr>
                        <a:t>5004</a:t>
                      </a:r>
                      <a:endParaRPr lang="en-US" dirty="0">
                        <a:effectLst/>
                        <a:latin typeface="Elevance Sans"/>
                      </a:endParaRPr>
                    </a:p>
                  </a:txBody>
                  <a:tcPr marL="0" marR="0" marT="0" marB="0" anchor="ctr">
                    <a:lnL>
                      <a:noFill/>
                    </a:lnL>
                    <a:lnR>
                      <a:noFill/>
                    </a:lnR>
                    <a:lnT>
                      <a:noFill/>
                    </a:lnT>
                    <a:lnB>
                      <a:noFill/>
                    </a:lnB>
                    <a:noFill/>
                  </a:tcPr>
                </a:tc>
                <a:tc>
                  <a:txBody>
                    <a:bodyPr/>
                    <a:lstStyle/>
                    <a:p>
                      <a:pPr marL="0" algn="l" rtl="0" eaLnBrk="1" latinLnBrk="0" hangingPunct="1">
                        <a:buNone/>
                      </a:pPr>
                      <a:r>
                        <a:rPr lang="en-US" sz="1300" kern="1200" dirty="0">
                          <a:solidFill>
                            <a:srgbClr val="5009B5"/>
                          </a:solidFill>
                          <a:effectLst/>
                          <a:latin typeface="Elevance Sans"/>
                        </a:rPr>
                        <a:t>FALSE</a:t>
                      </a:r>
                      <a:endParaRPr lang="en-US" dirty="0">
                        <a:effectLst/>
                        <a:latin typeface="Elevance Sans"/>
                      </a:endParaRPr>
                    </a:p>
                  </a:txBody>
                  <a:tcPr marL="0" marR="0" marT="0" marB="0" anchor="ctr">
                    <a:lnL>
                      <a:noFill/>
                    </a:lnL>
                    <a:lnR>
                      <a:noFill/>
                    </a:lnR>
                    <a:lnT>
                      <a:noFill/>
                    </a:lnT>
                    <a:lnB>
                      <a:noFill/>
                    </a:lnB>
                    <a:noFill/>
                  </a:tcPr>
                </a:tc>
                <a:extLst>
                  <a:ext uri="{0D108BD9-81ED-4DB2-BD59-A6C34878D82A}">
                    <a16:rowId xmlns:a16="http://schemas.microsoft.com/office/drawing/2014/main" val="3379927449"/>
                  </a:ext>
                </a:extLst>
              </a:tr>
              <a:tr h="246440">
                <a:tc>
                  <a:txBody>
                    <a:bodyPr/>
                    <a:lstStyle/>
                    <a:p>
                      <a:pPr marL="0" algn="l" rtl="0" eaLnBrk="1" latinLnBrk="0" hangingPunct="1">
                        <a:buNone/>
                      </a:pPr>
                      <a:r>
                        <a:rPr lang="en-US" sz="1300" kern="1200" dirty="0">
                          <a:solidFill>
                            <a:srgbClr val="5009B5"/>
                          </a:solidFill>
                          <a:effectLst/>
                          <a:latin typeface="Elevance Sans"/>
                        </a:rPr>
                        <a:t>1002</a:t>
                      </a:r>
                      <a:endParaRPr lang="en-US" dirty="0">
                        <a:effectLst/>
                        <a:latin typeface="Elevance Sans"/>
                      </a:endParaRPr>
                    </a:p>
                  </a:txBody>
                  <a:tcPr marL="0" marR="0" marT="0" marB="0" anchor="ctr">
                    <a:lnL>
                      <a:noFill/>
                    </a:lnL>
                    <a:lnR>
                      <a:noFill/>
                    </a:lnR>
                    <a:lnT>
                      <a:noFill/>
                    </a:lnT>
                    <a:lnB>
                      <a:noFill/>
                    </a:lnB>
                    <a:noFill/>
                  </a:tcPr>
                </a:tc>
                <a:tc>
                  <a:txBody>
                    <a:bodyPr/>
                    <a:lstStyle/>
                    <a:p>
                      <a:pPr marL="0" algn="l" rtl="0" eaLnBrk="1" latinLnBrk="0" hangingPunct="1">
                        <a:buNone/>
                      </a:pPr>
                      <a:r>
                        <a:rPr lang="en-US" sz="1300" kern="1200" dirty="0">
                          <a:solidFill>
                            <a:srgbClr val="5009B5"/>
                          </a:solidFill>
                          <a:effectLst/>
                          <a:latin typeface="Elevance Sans"/>
                        </a:rPr>
                        <a:t>5005</a:t>
                      </a:r>
                      <a:endParaRPr lang="en-US" dirty="0">
                        <a:effectLst/>
                        <a:latin typeface="Elevance Sans"/>
                      </a:endParaRPr>
                    </a:p>
                  </a:txBody>
                  <a:tcPr marL="0" marR="0" marT="0" marB="0" anchor="ctr">
                    <a:lnL>
                      <a:noFill/>
                    </a:lnL>
                    <a:lnR>
                      <a:noFill/>
                    </a:lnR>
                    <a:lnT>
                      <a:noFill/>
                    </a:lnT>
                    <a:lnB>
                      <a:noFill/>
                    </a:lnB>
                    <a:noFill/>
                  </a:tcPr>
                </a:tc>
                <a:tc>
                  <a:txBody>
                    <a:bodyPr/>
                    <a:lstStyle/>
                    <a:p>
                      <a:pPr marL="0" algn="l" rtl="0" eaLnBrk="1" latinLnBrk="0" hangingPunct="1">
                        <a:buNone/>
                      </a:pPr>
                      <a:r>
                        <a:rPr lang="en-US" sz="1300" kern="1200" dirty="0">
                          <a:solidFill>
                            <a:srgbClr val="5009B5"/>
                          </a:solidFill>
                          <a:effectLst/>
                          <a:latin typeface="Elevance Sans"/>
                        </a:rPr>
                        <a:t>5006</a:t>
                      </a:r>
                      <a:endParaRPr lang="en-US" dirty="0">
                        <a:effectLst/>
                        <a:latin typeface="Elevance Sans"/>
                      </a:endParaRPr>
                    </a:p>
                  </a:txBody>
                  <a:tcPr marL="0" marR="0" marT="0" marB="0" anchor="ctr">
                    <a:lnL>
                      <a:noFill/>
                    </a:lnL>
                    <a:lnR>
                      <a:noFill/>
                    </a:lnR>
                    <a:lnT>
                      <a:noFill/>
                    </a:lnT>
                    <a:lnB>
                      <a:noFill/>
                    </a:lnB>
                    <a:noFill/>
                  </a:tcPr>
                </a:tc>
                <a:tc>
                  <a:txBody>
                    <a:bodyPr/>
                    <a:lstStyle/>
                    <a:p>
                      <a:pPr marL="0" algn="l" rtl="0" eaLnBrk="1" latinLnBrk="0" hangingPunct="1">
                        <a:buNone/>
                      </a:pPr>
                      <a:r>
                        <a:rPr lang="en-US" sz="1300" kern="1200" dirty="0">
                          <a:solidFill>
                            <a:srgbClr val="5009B5"/>
                          </a:solidFill>
                          <a:effectLst/>
                          <a:latin typeface="Elevance Sans"/>
                        </a:rPr>
                        <a:t>TRUE</a:t>
                      </a:r>
                      <a:endParaRPr lang="en-US" dirty="0">
                        <a:effectLst/>
                        <a:latin typeface="Elevance Sans"/>
                      </a:endParaRPr>
                    </a:p>
                  </a:txBody>
                  <a:tcPr marL="0" marR="0" marT="0" marB="0" anchor="ctr">
                    <a:lnL>
                      <a:noFill/>
                    </a:lnL>
                    <a:lnR>
                      <a:noFill/>
                    </a:lnR>
                    <a:lnT>
                      <a:noFill/>
                    </a:lnT>
                    <a:lnB>
                      <a:noFill/>
                    </a:lnB>
                    <a:noFill/>
                  </a:tcPr>
                </a:tc>
                <a:extLst>
                  <a:ext uri="{0D108BD9-81ED-4DB2-BD59-A6C34878D82A}">
                    <a16:rowId xmlns:a16="http://schemas.microsoft.com/office/drawing/2014/main" val="489725592"/>
                  </a:ext>
                </a:extLst>
              </a:tr>
              <a:tr h="246440">
                <a:tc>
                  <a:txBody>
                    <a:bodyPr/>
                    <a:lstStyle/>
                    <a:p>
                      <a:pPr marL="0" algn="l" rtl="0" eaLnBrk="1" latinLnBrk="0" hangingPunct="1">
                        <a:buNone/>
                      </a:pPr>
                      <a:r>
                        <a:rPr lang="en-US" sz="1300" kern="1200" dirty="0">
                          <a:solidFill>
                            <a:srgbClr val="5009B5"/>
                          </a:solidFill>
                          <a:effectLst/>
                          <a:latin typeface="Elevance Sans"/>
                        </a:rPr>
                        <a:t>1002</a:t>
                      </a:r>
                      <a:endParaRPr lang="en-US" dirty="0">
                        <a:effectLst/>
                        <a:latin typeface="Elevance Sans"/>
                      </a:endParaRPr>
                    </a:p>
                  </a:txBody>
                  <a:tcPr marL="0" marR="0" marT="0" marB="0" anchor="ctr">
                    <a:lnL>
                      <a:noFill/>
                    </a:lnL>
                    <a:lnR>
                      <a:noFill/>
                    </a:lnR>
                    <a:lnT>
                      <a:noFill/>
                    </a:lnT>
                    <a:lnB>
                      <a:noFill/>
                    </a:lnB>
                    <a:noFill/>
                  </a:tcPr>
                </a:tc>
                <a:tc>
                  <a:txBody>
                    <a:bodyPr/>
                    <a:lstStyle/>
                    <a:p>
                      <a:pPr marL="0" algn="l" rtl="0" eaLnBrk="1" latinLnBrk="0" hangingPunct="1">
                        <a:buNone/>
                      </a:pPr>
                      <a:r>
                        <a:rPr lang="en-US" sz="1300" kern="1200" dirty="0">
                          <a:solidFill>
                            <a:srgbClr val="5009B5"/>
                          </a:solidFill>
                          <a:effectLst/>
                          <a:latin typeface="Elevance Sans"/>
                        </a:rPr>
                        <a:t>5007</a:t>
                      </a:r>
                      <a:endParaRPr lang="en-US" dirty="0">
                        <a:effectLst/>
                        <a:latin typeface="Elevance Sans"/>
                      </a:endParaRPr>
                    </a:p>
                  </a:txBody>
                  <a:tcPr marL="0" marR="0" marT="0" marB="0" anchor="ctr">
                    <a:lnL>
                      <a:noFill/>
                    </a:lnL>
                    <a:lnR>
                      <a:noFill/>
                    </a:lnR>
                    <a:lnT>
                      <a:noFill/>
                    </a:lnT>
                    <a:lnB>
                      <a:noFill/>
                    </a:lnB>
                    <a:noFill/>
                  </a:tcPr>
                </a:tc>
                <a:tc>
                  <a:txBody>
                    <a:bodyPr/>
                    <a:lstStyle/>
                    <a:p>
                      <a:pPr marL="0" algn="l" rtl="0" eaLnBrk="1" latinLnBrk="0" hangingPunct="1">
                        <a:buNone/>
                      </a:pPr>
                      <a:r>
                        <a:rPr lang="en-US" sz="1300" kern="1200" dirty="0">
                          <a:solidFill>
                            <a:srgbClr val="5009B5"/>
                          </a:solidFill>
                          <a:effectLst/>
                          <a:latin typeface="Elevance Sans"/>
                        </a:rPr>
                        <a:t>5008</a:t>
                      </a:r>
                      <a:endParaRPr lang="en-US" dirty="0">
                        <a:effectLst/>
                        <a:latin typeface="Elevance Sans"/>
                      </a:endParaRPr>
                    </a:p>
                  </a:txBody>
                  <a:tcPr marL="0" marR="0" marT="0" marB="0" anchor="ctr">
                    <a:lnL>
                      <a:noFill/>
                    </a:lnL>
                    <a:lnR>
                      <a:noFill/>
                    </a:lnR>
                    <a:lnT>
                      <a:noFill/>
                    </a:lnT>
                    <a:lnB>
                      <a:noFill/>
                    </a:lnB>
                    <a:noFill/>
                  </a:tcPr>
                </a:tc>
                <a:tc>
                  <a:txBody>
                    <a:bodyPr/>
                    <a:lstStyle/>
                    <a:p>
                      <a:pPr marL="0" algn="l" rtl="0" eaLnBrk="1" latinLnBrk="0" hangingPunct="1">
                        <a:buNone/>
                      </a:pPr>
                      <a:r>
                        <a:rPr lang="en-US" sz="1300" kern="1200" dirty="0">
                          <a:solidFill>
                            <a:srgbClr val="5009B5"/>
                          </a:solidFill>
                          <a:effectLst/>
                          <a:latin typeface="Elevance Sans"/>
                        </a:rPr>
                        <a:t>TRUE</a:t>
                      </a:r>
                      <a:endParaRPr lang="en-US" dirty="0">
                        <a:effectLst/>
                        <a:latin typeface="Elevance Sans"/>
                      </a:endParaRPr>
                    </a:p>
                  </a:txBody>
                  <a:tcPr marL="0" marR="0" marT="0" marB="0" anchor="ctr">
                    <a:lnL>
                      <a:noFill/>
                    </a:lnL>
                    <a:lnR>
                      <a:noFill/>
                    </a:lnR>
                    <a:lnT>
                      <a:noFill/>
                    </a:lnT>
                    <a:lnB>
                      <a:noFill/>
                    </a:lnB>
                    <a:noFill/>
                  </a:tcPr>
                </a:tc>
                <a:extLst>
                  <a:ext uri="{0D108BD9-81ED-4DB2-BD59-A6C34878D82A}">
                    <a16:rowId xmlns:a16="http://schemas.microsoft.com/office/drawing/2014/main" val="108490099"/>
                  </a:ext>
                </a:extLst>
              </a:tr>
            </a:tbl>
          </a:graphicData>
        </a:graphic>
      </p:graphicFrame>
      <p:graphicFrame>
        <p:nvGraphicFramePr>
          <p:cNvPr id="14" name="Table 13">
            <a:extLst>
              <a:ext uri="{FF2B5EF4-FFF2-40B4-BE49-F238E27FC236}">
                <a16:creationId xmlns:a16="http://schemas.microsoft.com/office/drawing/2014/main" id="{2A453CF2-0C69-4363-7A16-E5A4646F0118}"/>
              </a:ext>
            </a:extLst>
          </p:cNvPr>
          <p:cNvGraphicFramePr>
            <a:graphicFrameLocks noGrp="1"/>
          </p:cNvGraphicFramePr>
          <p:nvPr>
            <p:extLst>
              <p:ext uri="{D42A27DB-BD31-4B8C-83A1-F6EECF244321}">
                <p14:modId xmlns:p14="http://schemas.microsoft.com/office/powerpoint/2010/main" val="2304349772"/>
              </p:ext>
            </p:extLst>
          </p:nvPr>
        </p:nvGraphicFramePr>
        <p:xfrm>
          <a:off x="449746" y="2880360"/>
          <a:ext cx="8089900" cy="1097280"/>
        </p:xfrm>
        <a:graphic>
          <a:graphicData uri="http://schemas.openxmlformats.org/drawingml/2006/table">
            <a:tbl>
              <a:tblPr bandRow="1">
                <a:tableStyleId>{5C22544A-7EE6-4342-B048-85BDC9FD1C3A}</a:tableStyleId>
              </a:tblPr>
              <a:tblGrid>
                <a:gridCol w="2022475">
                  <a:extLst>
                    <a:ext uri="{9D8B030D-6E8A-4147-A177-3AD203B41FA5}">
                      <a16:colId xmlns:a16="http://schemas.microsoft.com/office/drawing/2014/main" val="941401161"/>
                    </a:ext>
                  </a:extLst>
                </a:gridCol>
                <a:gridCol w="2022475">
                  <a:extLst>
                    <a:ext uri="{9D8B030D-6E8A-4147-A177-3AD203B41FA5}">
                      <a16:colId xmlns:a16="http://schemas.microsoft.com/office/drawing/2014/main" val="3864809841"/>
                    </a:ext>
                  </a:extLst>
                </a:gridCol>
                <a:gridCol w="2022475">
                  <a:extLst>
                    <a:ext uri="{9D8B030D-6E8A-4147-A177-3AD203B41FA5}">
                      <a16:colId xmlns:a16="http://schemas.microsoft.com/office/drawing/2014/main" val="1851675872"/>
                    </a:ext>
                  </a:extLst>
                </a:gridCol>
                <a:gridCol w="2022475">
                  <a:extLst>
                    <a:ext uri="{9D8B030D-6E8A-4147-A177-3AD203B41FA5}">
                      <a16:colId xmlns:a16="http://schemas.microsoft.com/office/drawing/2014/main" val="3667187333"/>
                    </a:ext>
                  </a:extLst>
                </a:gridCol>
              </a:tblGrid>
              <a:tr h="297180">
                <a:tc>
                  <a:txBody>
                    <a:bodyPr/>
                    <a:lstStyle/>
                    <a:p>
                      <a:pPr marL="0" algn="l" rtl="0" eaLnBrk="1" latinLnBrk="0" hangingPunct="1">
                        <a:buNone/>
                      </a:pPr>
                      <a:r>
                        <a:rPr lang="en-US" sz="1300" b="1" kern="1200">
                          <a:solidFill>
                            <a:srgbClr val="5009B5"/>
                          </a:solidFill>
                          <a:effectLst/>
                          <a:latin typeface="Elevance Sans" panose="020B0604020202020204" charset="0"/>
                        </a:rPr>
                        <a:t>MSTR_PROV_ID</a:t>
                      </a:r>
                      <a:endParaRPr lang="en-US">
                        <a:effectLst/>
                      </a:endParaRPr>
                    </a:p>
                  </a:txBody>
                  <a:tcPr marL="0" marR="0" marT="0" marB="0" anchor="ctr">
                    <a:lnL>
                      <a:noFill/>
                    </a:lnL>
                    <a:lnR>
                      <a:noFill/>
                    </a:lnR>
                    <a:lnT>
                      <a:noFill/>
                    </a:lnT>
                    <a:lnB>
                      <a:noFill/>
                    </a:lnB>
                    <a:noFill/>
                  </a:tcPr>
                </a:tc>
                <a:tc>
                  <a:txBody>
                    <a:bodyPr/>
                    <a:lstStyle/>
                    <a:p>
                      <a:pPr marL="0" algn="l" rtl="0" eaLnBrk="1" latinLnBrk="0" hangingPunct="1">
                        <a:buNone/>
                      </a:pPr>
                      <a:r>
                        <a:rPr lang="en-US" sz="1300" b="1" kern="1200">
                          <a:solidFill>
                            <a:srgbClr val="5009B5"/>
                          </a:solidFill>
                          <a:effectLst/>
                          <a:latin typeface="Elevance Sans" panose="020B0604020202020204" charset="0"/>
                        </a:rPr>
                        <a:t>poa_keys_1</a:t>
                      </a:r>
                      <a:endParaRPr lang="en-US">
                        <a:effectLst/>
                      </a:endParaRPr>
                    </a:p>
                  </a:txBody>
                  <a:tcPr marL="0" marR="0" marT="0" marB="0" anchor="ctr">
                    <a:lnL>
                      <a:noFill/>
                    </a:lnL>
                    <a:lnR>
                      <a:noFill/>
                    </a:lnR>
                    <a:lnT>
                      <a:noFill/>
                    </a:lnT>
                    <a:lnB>
                      <a:noFill/>
                    </a:lnB>
                    <a:noFill/>
                  </a:tcPr>
                </a:tc>
                <a:tc>
                  <a:txBody>
                    <a:bodyPr/>
                    <a:lstStyle/>
                    <a:p>
                      <a:pPr marL="0" algn="l" rtl="0" eaLnBrk="1" latinLnBrk="0" hangingPunct="1">
                        <a:buNone/>
                      </a:pPr>
                      <a:r>
                        <a:rPr lang="en-US" sz="1300" b="1" kern="1200">
                          <a:solidFill>
                            <a:srgbClr val="5009B5"/>
                          </a:solidFill>
                          <a:effectLst/>
                          <a:latin typeface="Elevance Sans" panose="020B0604020202020204" charset="0"/>
                        </a:rPr>
                        <a:t>poa_keys_2</a:t>
                      </a:r>
                      <a:endParaRPr lang="en-US">
                        <a:effectLst/>
                      </a:endParaRPr>
                    </a:p>
                  </a:txBody>
                  <a:tcPr marL="0" marR="0" marT="0" marB="0" anchor="ctr">
                    <a:lnL>
                      <a:noFill/>
                    </a:lnL>
                    <a:lnR>
                      <a:noFill/>
                    </a:lnR>
                    <a:lnT>
                      <a:noFill/>
                    </a:lnT>
                    <a:lnB>
                      <a:noFill/>
                    </a:lnB>
                    <a:noFill/>
                  </a:tcPr>
                </a:tc>
                <a:tc>
                  <a:txBody>
                    <a:bodyPr/>
                    <a:lstStyle/>
                    <a:p>
                      <a:pPr marL="0" algn="l" rtl="0" eaLnBrk="1" latinLnBrk="0" hangingPunct="1">
                        <a:buNone/>
                      </a:pPr>
                      <a:r>
                        <a:rPr lang="en-US" sz="1300" b="1" kern="1200">
                          <a:solidFill>
                            <a:srgbClr val="5009B5"/>
                          </a:solidFill>
                          <a:effectLst/>
                          <a:latin typeface="Elevance Sans" panose="020B0604020202020204" charset="0"/>
                        </a:rPr>
                        <a:t>edges</a:t>
                      </a:r>
                      <a:endParaRPr lang="en-US">
                        <a:effectLst/>
                      </a:endParaRPr>
                    </a:p>
                  </a:txBody>
                  <a:tcPr marL="0" marR="0" marT="0" marB="0" anchor="ctr">
                    <a:lnL>
                      <a:noFill/>
                    </a:lnL>
                    <a:lnR>
                      <a:noFill/>
                    </a:lnR>
                    <a:lnT>
                      <a:noFill/>
                    </a:lnT>
                    <a:lnB>
                      <a:noFill/>
                    </a:lnB>
                    <a:noFill/>
                  </a:tcPr>
                </a:tc>
                <a:extLst>
                  <a:ext uri="{0D108BD9-81ED-4DB2-BD59-A6C34878D82A}">
                    <a16:rowId xmlns:a16="http://schemas.microsoft.com/office/drawing/2014/main" val="1206997335"/>
                  </a:ext>
                </a:extLst>
              </a:tr>
              <a:tr h="297180">
                <a:tc>
                  <a:txBody>
                    <a:bodyPr/>
                    <a:lstStyle/>
                    <a:p>
                      <a:pPr marL="0" algn="l" rtl="0" eaLnBrk="1" latinLnBrk="0" hangingPunct="1">
                        <a:buNone/>
                      </a:pPr>
                      <a:r>
                        <a:rPr lang="en-US" sz="1300" kern="1200">
                          <a:solidFill>
                            <a:srgbClr val="5009B5"/>
                          </a:solidFill>
                          <a:effectLst/>
                          <a:latin typeface="Elevance Sans" panose="020B0604020202020204" charset="0"/>
                        </a:rPr>
                        <a:t>1001</a:t>
                      </a:r>
                      <a:endParaRPr lang="en-US">
                        <a:effectLst/>
                      </a:endParaRPr>
                    </a:p>
                  </a:txBody>
                  <a:tcPr marL="0" marR="0" marT="0" marB="0" anchor="ctr">
                    <a:lnL>
                      <a:noFill/>
                    </a:lnL>
                    <a:lnR>
                      <a:noFill/>
                    </a:lnR>
                    <a:lnT>
                      <a:noFill/>
                    </a:lnT>
                    <a:lnB>
                      <a:noFill/>
                    </a:lnB>
                    <a:noFill/>
                  </a:tcPr>
                </a:tc>
                <a:tc>
                  <a:txBody>
                    <a:bodyPr/>
                    <a:lstStyle/>
                    <a:p>
                      <a:pPr marL="0" algn="l" rtl="0" eaLnBrk="1" latinLnBrk="0" hangingPunct="1">
                        <a:buNone/>
                      </a:pPr>
                      <a:r>
                        <a:rPr lang="en-US" sz="1300" kern="1200">
                          <a:solidFill>
                            <a:srgbClr val="5009B5"/>
                          </a:solidFill>
                          <a:effectLst/>
                          <a:latin typeface="Elevance Sans" panose="020B0604020202020204" charset="0"/>
                        </a:rPr>
                        <a:t>[5001, 5003]</a:t>
                      </a:r>
                      <a:endParaRPr lang="en-US">
                        <a:effectLst/>
                      </a:endParaRPr>
                    </a:p>
                  </a:txBody>
                  <a:tcPr marL="0" marR="0" marT="0" marB="0" anchor="ctr">
                    <a:lnL>
                      <a:noFill/>
                    </a:lnL>
                    <a:lnR>
                      <a:noFill/>
                    </a:lnR>
                    <a:lnT>
                      <a:noFill/>
                    </a:lnT>
                    <a:lnB>
                      <a:noFill/>
                    </a:lnB>
                    <a:noFill/>
                  </a:tcPr>
                </a:tc>
                <a:tc>
                  <a:txBody>
                    <a:bodyPr/>
                    <a:lstStyle/>
                    <a:p>
                      <a:pPr marL="0" algn="l" rtl="0" eaLnBrk="1" latinLnBrk="0" hangingPunct="1">
                        <a:buNone/>
                      </a:pPr>
                      <a:r>
                        <a:rPr lang="en-US" sz="1300" kern="1200">
                          <a:solidFill>
                            <a:srgbClr val="5009B5"/>
                          </a:solidFill>
                          <a:effectLst/>
                          <a:latin typeface="Elevance Sans" panose="020B0604020202020204" charset="0"/>
                        </a:rPr>
                        <a:t>[5002, 5004]</a:t>
                      </a:r>
                      <a:endParaRPr lang="en-US">
                        <a:effectLst/>
                      </a:endParaRPr>
                    </a:p>
                  </a:txBody>
                  <a:tcPr marL="0" marR="0" marT="0" marB="0" anchor="ctr">
                    <a:lnL>
                      <a:noFill/>
                    </a:lnL>
                    <a:lnR>
                      <a:noFill/>
                    </a:lnR>
                    <a:lnT>
                      <a:noFill/>
                    </a:lnT>
                    <a:lnB>
                      <a:noFill/>
                    </a:lnB>
                    <a:noFill/>
                  </a:tcPr>
                </a:tc>
                <a:tc>
                  <a:txBody>
                    <a:bodyPr/>
                    <a:lstStyle/>
                    <a:p>
                      <a:pPr marL="0" algn="l" rtl="0" eaLnBrk="1" latinLnBrk="0" hangingPunct="1">
                        <a:buNone/>
                      </a:pPr>
                      <a:r>
                        <a:rPr lang="en-US" sz="1300" kern="1200">
                          <a:solidFill>
                            <a:srgbClr val="5009B5"/>
                          </a:solidFill>
                          <a:effectLst/>
                          <a:latin typeface="Elevance Sans" panose="020B0604020202020204" charset="0"/>
                        </a:rPr>
                        <a:t>[{5001, 5002}]</a:t>
                      </a:r>
                      <a:endParaRPr lang="en-US">
                        <a:effectLst/>
                      </a:endParaRPr>
                    </a:p>
                  </a:txBody>
                  <a:tcPr marL="0" marR="0" marT="0" marB="0" anchor="ctr">
                    <a:lnL>
                      <a:noFill/>
                    </a:lnL>
                    <a:lnR>
                      <a:noFill/>
                    </a:lnR>
                    <a:lnT>
                      <a:noFill/>
                    </a:lnT>
                    <a:lnB>
                      <a:noFill/>
                    </a:lnB>
                    <a:noFill/>
                  </a:tcPr>
                </a:tc>
                <a:extLst>
                  <a:ext uri="{0D108BD9-81ED-4DB2-BD59-A6C34878D82A}">
                    <a16:rowId xmlns:a16="http://schemas.microsoft.com/office/drawing/2014/main" val="3194947086"/>
                  </a:ext>
                </a:extLst>
              </a:tr>
              <a:tr h="502920">
                <a:tc>
                  <a:txBody>
                    <a:bodyPr/>
                    <a:lstStyle/>
                    <a:p>
                      <a:pPr marL="0" algn="l" rtl="0" eaLnBrk="1" latinLnBrk="0" hangingPunct="1">
                        <a:buNone/>
                      </a:pPr>
                      <a:r>
                        <a:rPr lang="en-US" sz="1300" kern="1200">
                          <a:solidFill>
                            <a:srgbClr val="5009B5"/>
                          </a:solidFill>
                          <a:effectLst/>
                          <a:latin typeface="Elevance Sans" panose="020B0604020202020204" charset="0"/>
                        </a:rPr>
                        <a:t>1002</a:t>
                      </a:r>
                      <a:endParaRPr lang="en-US">
                        <a:effectLst/>
                      </a:endParaRPr>
                    </a:p>
                  </a:txBody>
                  <a:tcPr marL="0" marR="0" marT="0" marB="0" anchor="ctr">
                    <a:lnL>
                      <a:noFill/>
                    </a:lnL>
                    <a:lnR>
                      <a:noFill/>
                    </a:lnR>
                    <a:lnT>
                      <a:noFill/>
                    </a:lnT>
                    <a:lnB>
                      <a:noFill/>
                    </a:lnB>
                    <a:noFill/>
                  </a:tcPr>
                </a:tc>
                <a:tc>
                  <a:txBody>
                    <a:bodyPr/>
                    <a:lstStyle/>
                    <a:p>
                      <a:pPr marL="0" algn="l" rtl="0" eaLnBrk="1" latinLnBrk="0" hangingPunct="1">
                        <a:buNone/>
                      </a:pPr>
                      <a:r>
                        <a:rPr lang="en-US" sz="1300" kern="1200">
                          <a:solidFill>
                            <a:srgbClr val="5009B5"/>
                          </a:solidFill>
                          <a:effectLst/>
                          <a:latin typeface="Elevance Sans" panose="020B0604020202020204" charset="0"/>
                        </a:rPr>
                        <a:t>[5005, 5007]</a:t>
                      </a:r>
                      <a:endParaRPr lang="en-US">
                        <a:effectLst/>
                      </a:endParaRPr>
                    </a:p>
                  </a:txBody>
                  <a:tcPr marL="0" marR="0" marT="0" marB="0" anchor="ctr">
                    <a:lnL>
                      <a:noFill/>
                    </a:lnL>
                    <a:lnR>
                      <a:noFill/>
                    </a:lnR>
                    <a:lnT>
                      <a:noFill/>
                    </a:lnT>
                    <a:lnB>
                      <a:noFill/>
                    </a:lnB>
                    <a:noFill/>
                  </a:tcPr>
                </a:tc>
                <a:tc>
                  <a:txBody>
                    <a:bodyPr/>
                    <a:lstStyle/>
                    <a:p>
                      <a:pPr marL="0" algn="l" rtl="0" eaLnBrk="1" latinLnBrk="0" hangingPunct="1">
                        <a:buNone/>
                      </a:pPr>
                      <a:r>
                        <a:rPr lang="en-US" sz="1300" kern="1200">
                          <a:solidFill>
                            <a:srgbClr val="5009B5"/>
                          </a:solidFill>
                          <a:effectLst/>
                          <a:latin typeface="Elevance Sans" panose="020B0604020202020204" charset="0"/>
                        </a:rPr>
                        <a:t>[5006, 5008]</a:t>
                      </a:r>
                      <a:endParaRPr lang="en-US">
                        <a:effectLst/>
                      </a:endParaRPr>
                    </a:p>
                  </a:txBody>
                  <a:tcPr marL="0" marR="0" marT="0" marB="0" anchor="ctr">
                    <a:lnL>
                      <a:noFill/>
                    </a:lnL>
                    <a:lnR>
                      <a:noFill/>
                    </a:lnR>
                    <a:lnT>
                      <a:noFill/>
                    </a:lnT>
                    <a:lnB>
                      <a:noFill/>
                    </a:lnB>
                    <a:noFill/>
                  </a:tcPr>
                </a:tc>
                <a:tc>
                  <a:txBody>
                    <a:bodyPr/>
                    <a:lstStyle/>
                    <a:p>
                      <a:pPr marL="0" algn="l" rtl="0" eaLnBrk="1" latinLnBrk="0" hangingPunct="1">
                        <a:buNone/>
                      </a:pPr>
                      <a:r>
                        <a:rPr lang="en-US" sz="1300" kern="1200">
                          <a:solidFill>
                            <a:srgbClr val="5009B5"/>
                          </a:solidFill>
                          <a:effectLst/>
                          <a:latin typeface="Elevance Sans" panose="020B0604020202020204" charset="0"/>
                        </a:rPr>
                        <a:t>[{5005, 5006}, {5007, 5008}]</a:t>
                      </a:r>
                      <a:endParaRPr lang="en-US">
                        <a:effectLst/>
                      </a:endParaRPr>
                    </a:p>
                  </a:txBody>
                  <a:tcPr marL="0" marR="0" marT="0" marB="0" anchor="ctr">
                    <a:lnL>
                      <a:noFill/>
                    </a:lnL>
                    <a:lnR>
                      <a:noFill/>
                    </a:lnR>
                    <a:lnT>
                      <a:noFill/>
                    </a:lnT>
                    <a:lnB>
                      <a:noFill/>
                    </a:lnB>
                    <a:noFill/>
                  </a:tcPr>
                </a:tc>
                <a:extLst>
                  <a:ext uri="{0D108BD9-81ED-4DB2-BD59-A6C34878D82A}">
                    <a16:rowId xmlns:a16="http://schemas.microsoft.com/office/drawing/2014/main" val="3403544430"/>
                  </a:ext>
                </a:extLst>
              </a:tr>
            </a:tbl>
          </a:graphicData>
        </a:graphic>
      </p:graphicFrame>
      <p:pic>
        <p:nvPicPr>
          <p:cNvPr id="19" name="Picture 18" descr="A white rectangular object with black border&#10;&#10;AI-generated content may be incorrect.">
            <a:extLst>
              <a:ext uri="{FF2B5EF4-FFF2-40B4-BE49-F238E27FC236}">
                <a16:creationId xmlns:a16="http://schemas.microsoft.com/office/drawing/2014/main" id="{33389C4E-8C68-C826-7DF6-A1B35A06FDE8}"/>
              </a:ext>
            </a:extLst>
          </p:cNvPr>
          <p:cNvPicPr>
            <a:picLocks noChangeAspect="1"/>
          </p:cNvPicPr>
          <p:nvPr/>
        </p:nvPicPr>
        <p:blipFill>
          <a:blip r:embed="rId3"/>
          <a:stretch>
            <a:fillRect/>
          </a:stretch>
        </p:blipFill>
        <p:spPr>
          <a:xfrm>
            <a:off x="298175" y="3977779"/>
            <a:ext cx="8261922" cy="691487"/>
          </a:xfrm>
          <a:prstGeom prst="rect">
            <a:avLst/>
          </a:prstGeom>
        </p:spPr>
      </p:pic>
      <p:graphicFrame>
        <p:nvGraphicFramePr>
          <p:cNvPr id="22" name="Table 21">
            <a:extLst>
              <a:ext uri="{FF2B5EF4-FFF2-40B4-BE49-F238E27FC236}">
                <a16:creationId xmlns:a16="http://schemas.microsoft.com/office/drawing/2014/main" id="{651B5B95-BAB8-8EE5-EB22-F158F9293FFE}"/>
              </a:ext>
            </a:extLst>
          </p:cNvPr>
          <p:cNvGraphicFramePr>
            <a:graphicFrameLocks noGrp="1"/>
          </p:cNvGraphicFramePr>
          <p:nvPr>
            <p:extLst>
              <p:ext uri="{D42A27DB-BD31-4B8C-83A1-F6EECF244321}">
                <p14:modId xmlns:p14="http://schemas.microsoft.com/office/powerpoint/2010/main" val="4010851796"/>
              </p:ext>
            </p:extLst>
          </p:nvPr>
        </p:nvGraphicFramePr>
        <p:xfrm>
          <a:off x="448641" y="4803913"/>
          <a:ext cx="8277573" cy="1358804"/>
        </p:xfrm>
        <a:graphic>
          <a:graphicData uri="http://schemas.openxmlformats.org/drawingml/2006/table">
            <a:tbl>
              <a:tblPr bandRow="1">
                <a:tableStyleId>{5C22544A-7EE6-4342-B048-85BDC9FD1C3A}</a:tableStyleId>
              </a:tblPr>
              <a:tblGrid>
                <a:gridCol w="2759191">
                  <a:extLst>
                    <a:ext uri="{9D8B030D-6E8A-4147-A177-3AD203B41FA5}">
                      <a16:colId xmlns:a16="http://schemas.microsoft.com/office/drawing/2014/main" val="436029243"/>
                    </a:ext>
                  </a:extLst>
                </a:gridCol>
                <a:gridCol w="2759191">
                  <a:extLst>
                    <a:ext uri="{9D8B030D-6E8A-4147-A177-3AD203B41FA5}">
                      <a16:colId xmlns:a16="http://schemas.microsoft.com/office/drawing/2014/main" val="3081770959"/>
                    </a:ext>
                  </a:extLst>
                </a:gridCol>
                <a:gridCol w="2759191">
                  <a:extLst>
                    <a:ext uri="{9D8B030D-6E8A-4147-A177-3AD203B41FA5}">
                      <a16:colId xmlns:a16="http://schemas.microsoft.com/office/drawing/2014/main" val="2989347898"/>
                    </a:ext>
                  </a:extLst>
                </a:gridCol>
              </a:tblGrid>
              <a:tr h="317649">
                <a:tc>
                  <a:txBody>
                    <a:bodyPr/>
                    <a:lstStyle/>
                    <a:p>
                      <a:pPr marL="0" algn="l" rtl="0" eaLnBrk="1" latinLnBrk="0" hangingPunct="1">
                        <a:buNone/>
                      </a:pPr>
                      <a:r>
                        <a:rPr lang="en-US" sz="1900" b="1" kern="1200" dirty="0">
                          <a:solidFill>
                            <a:srgbClr val="5009B5"/>
                          </a:solidFill>
                          <a:effectLst/>
                          <a:latin typeface="Elevance Sans"/>
                        </a:rPr>
                        <a:t>MSTR_PROV_ID</a:t>
                      </a:r>
                      <a:endParaRPr lang="en-US" dirty="0">
                        <a:effectLst/>
                        <a:latin typeface="Elevance Sans"/>
                      </a:endParaRPr>
                    </a:p>
                  </a:txBody>
                  <a:tcPr marL="0" marR="0" marT="0" marB="0" anchor="ctr">
                    <a:lnL>
                      <a:noFill/>
                    </a:lnL>
                    <a:lnR>
                      <a:noFill/>
                    </a:lnR>
                    <a:lnT>
                      <a:noFill/>
                    </a:lnT>
                    <a:lnB>
                      <a:noFill/>
                    </a:lnB>
                    <a:noFill/>
                  </a:tcPr>
                </a:tc>
                <a:tc>
                  <a:txBody>
                    <a:bodyPr/>
                    <a:lstStyle/>
                    <a:p>
                      <a:pPr marL="0" algn="l" rtl="0" eaLnBrk="1" latinLnBrk="0" hangingPunct="1">
                        <a:buNone/>
                      </a:pPr>
                      <a:r>
                        <a:rPr lang="en-US" sz="1900" b="1" kern="1200" dirty="0" err="1">
                          <a:solidFill>
                            <a:srgbClr val="5009B5"/>
                          </a:solidFill>
                          <a:effectLst/>
                          <a:latin typeface="Elevance Sans"/>
                        </a:rPr>
                        <a:t>poa_keys</a:t>
                      </a:r>
                      <a:endParaRPr lang="en-US" dirty="0" err="1">
                        <a:effectLst/>
                        <a:latin typeface="Elevance Sans"/>
                      </a:endParaRPr>
                    </a:p>
                  </a:txBody>
                  <a:tcPr marL="0" marR="0" marT="0" marB="0" anchor="ctr">
                    <a:lnL>
                      <a:noFill/>
                    </a:lnL>
                    <a:lnR>
                      <a:noFill/>
                    </a:lnR>
                    <a:lnT>
                      <a:noFill/>
                    </a:lnT>
                    <a:lnB>
                      <a:noFill/>
                    </a:lnB>
                    <a:noFill/>
                  </a:tcPr>
                </a:tc>
                <a:tc>
                  <a:txBody>
                    <a:bodyPr/>
                    <a:lstStyle/>
                    <a:p>
                      <a:pPr marL="0" algn="l" rtl="0" eaLnBrk="1" latinLnBrk="0" hangingPunct="1">
                        <a:buNone/>
                      </a:pPr>
                      <a:r>
                        <a:rPr lang="en-US" sz="1900" b="1" kern="1200" dirty="0">
                          <a:solidFill>
                            <a:srgbClr val="5009B5"/>
                          </a:solidFill>
                          <a:effectLst/>
                          <a:latin typeface="Elevance Sans"/>
                        </a:rPr>
                        <a:t>edges</a:t>
                      </a:r>
                      <a:endParaRPr lang="en-US" dirty="0">
                        <a:effectLst/>
                        <a:latin typeface="Elevance Sans"/>
                      </a:endParaRPr>
                    </a:p>
                  </a:txBody>
                  <a:tcPr marL="0" marR="0" marT="0" marB="0" anchor="ctr">
                    <a:lnL>
                      <a:noFill/>
                    </a:lnL>
                    <a:lnR>
                      <a:noFill/>
                    </a:lnR>
                    <a:lnT>
                      <a:noFill/>
                    </a:lnT>
                    <a:lnB>
                      <a:noFill/>
                    </a:lnB>
                    <a:noFill/>
                  </a:tcPr>
                </a:tc>
                <a:extLst>
                  <a:ext uri="{0D108BD9-81ED-4DB2-BD59-A6C34878D82A}">
                    <a16:rowId xmlns:a16="http://schemas.microsoft.com/office/drawing/2014/main" val="3395795881"/>
                  </a:ext>
                </a:extLst>
              </a:tr>
              <a:tr h="462035">
                <a:tc>
                  <a:txBody>
                    <a:bodyPr/>
                    <a:lstStyle/>
                    <a:p>
                      <a:pPr marL="0" algn="l" rtl="0" eaLnBrk="1" latinLnBrk="0" hangingPunct="1">
                        <a:buNone/>
                      </a:pPr>
                      <a:r>
                        <a:rPr lang="en-US" sz="1900" kern="1200" dirty="0">
                          <a:solidFill>
                            <a:srgbClr val="5009B5"/>
                          </a:solidFill>
                          <a:effectLst/>
                          <a:latin typeface="Elevance Sans"/>
                        </a:rPr>
                        <a:t>1001</a:t>
                      </a:r>
                      <a:endParaRPr lang="en-US" dirty="0">
                        <a:effectLst/>
                        <a:latin typeface="Elevance Sans"/>
                      </a:endParaRPr>
                    </a:p>
                  </a:txBody>
                  <a:tcPr marL="0" marR="0" marT="0" marB="0" anchor="ctr">
                    <a:lnL>
                      <a:noFill/>
                    </a:lnL>
                    <a:lnR>
                      <a:noFill/>
                    </a:lnR>
                    <a:lnT>
                      <a:noFill/>
                    </a:lnT>
                    <a:lnB>
                      <a:noFill/>
                    </a:lnB>
                    <a:noFill/>
                  </a:tcPr>
                </a:tc>
                <a:tc>
                  <a:txBody>
                    <a:bodyPr/>
                    <a:lstStyle/>
                    <a:p>
                      <a:pPr marL="0" algn="l" rtl="0" eaLnBrk="1" latinLnBrk="0" hangingPunct="1">
                        <a:buNone/>
                      </a:pPr>
                      <a:r>
                        <a:rPr lang="en-US" sz="1900" kern="1200" dirty="0">
                          <a:solidFill>
                            <a:srgbClr val="5009B5"/>
                          </a:solidFill>
                          <a:effectLst/>
                          <a:latin typeface="Elevance Sans"/>
                        </a:rPr>
                        <a:t>[5001, 5002, 5003, 5004]</a:t>
                      </a:r>
                      <a:endParaRPr lang="en-US" dirty="0">
                        <a:effectLst/>
                        <a:latin typeface="Elevance Sans"/>
                      </a:endParaRPr>
                    </a:p>
                  </a:txBody>
                  <a:tcPr marL="0" marR="0" marT="0" marB="0" anchor="ctr">
                    <a:lnL>
                      <a:noFill/>
                    </a:lnL>
                    <a:lnR>
                      <a:noFill/>
                    </a:lnR>
                    <a:lnT>
                      <a:noFill/>
                    </a:lnT>
                    <a:lnB>
                      <a:noFill/>
                    </a:lnB>
                    <a:noFill/>
                  </a:tcPr>
                </a:tc>
                <a:tc>
                  <a:txBody>
                    <a:bodyPr/>
                    <a:lstStyle/>
                    <a:p>
                      <a:pPr marL="0" algn="l" rtl="0" eaLnBrk="1" latinLnBrk="0" hangingPunct="1">
                        <a:buNone/>
                      </a:pPr>
                      <a:r>
                        <a:rPr lang="en-US" sz="1900" kern="1200" dirty="0">
                          <a:solidFill>
                            <a:srgbClr val="5009B5"/>
                          </a:solidFill>
                          <a:effectLst/>
                          <a:latin typeface="Elevance Sans"/>
                        </a:rPr>
                        <a:t>[{5001, 5002}]</a:t>
                      </a:r>
                      <a:endParaRPr lang="en-US" dirty="0">
                        <a:effectLst/>
                        <a:latin typeface="Elevance Sans"/>
                      </a:endParaRPr>
                    </a:p>
                  </a:txBody>
                  <a:tcPr marL="0" marR="0" marT="0" marB="0" anchor="ctr">
                    <a:lnL>
                      <a:noFill/>
                    </a:lnL>
                    <a:lnR>
                      <a:noFill/>
                    </a:lnR>
                    <a:lnT>
                      <a:noFill/>
                    </a:lnT>
                    <a:lnB>
                      <a:noFill/>
                    </a:lnB>
                    <a:noFill/>
                  </a:tcPr>
                </a:tc>
                <a:extLst>
                  <a:ext uri="{0D108BD9-81ED-4DB2-BD59-A6C34878D82A}">
                    <a16:rowId xmlns:a16="http://schemas.microsoft.com/office/drawing/2014/main" val="3515289641"/>
                  </a:ext>
                </a:extLst>
              </a:tr>
              <a:tr h="462035">
                <a:tc>
                  <a:txBody>
                    <a:bodyPr/>
                    <a:lstStyle/>
                    <a:p>
                      <a:pPr marL="0" algn="l" rtl="0" eaLnBrk="1" latinLnBrk="0" hangingPunct="1">
                        <a:buNone/>
                      </a:pPr>
                      <a:r>
                        <a:rPr lang="en-US" sz="1900" kern="1200" dirty="0">
                          <a:solidFill>
                            <a:srgbClr val="5009B5"/>
                          </a:solidFill>
                          <a:effectLst/>
                          <a:latin typeface="Elevance Sans"/>
                        </a:rPr>
                        <a:t>1002</a:t>
                      </a:r>
                      <a:endParaRPr lang="en-US" dirty="0">
                        <a:effectLst/>
                        <a:latin typeface="Elevance Sans"/>
                      </a:endParaRPr>
                    </a:p>
                  </a:txBody>
                  <a:tcPr marL="0" marR="0" marT="0" marB="0" anchor="ctr">
                    <a:lnL>
                      <a:noFill/>
                    </a:lnL>
                    <a:lnR>
                      <a:noFill/>
                    </a:lnR>
                    <a:lnT>
                      <a:noFill/>
                    </a:lnT>
                    <a:lnB>
                      <a:noFill/>
                    </a:lnB>
                    <a:noFill/>
                  </a:tcPr>
                </a:tc>
                <a:tc>
                  <a:txBody>
                    <a:bodyPr/>
                    <a:lstStyle/>
                    <a:p>
                      <a:pPr marL="0" algn="l" rtl="0" eaLnBrk="1" latinLnBrk="0" hangingPunct="1">
                        <a:buNone/>
                      </a:pPr>
                      <a:r>
                        <a:rPr lang="en-US" sz="1900" kern="1200" dirty="0">
                          <a:solidFill>
                            <a:srgbClr val="5009B5"/>
                          </a:solidFill>
                          <a:effectLst/>
                          <a:latin typeface="Elevance Sans"/>
                        </a:rPr>
                        <a:t>[5005, 5006, 5007, 5008]</a:t>
                      </a:r>
                      <a:endParaRPr lang="en-US" dirty="0">
                        <a:effectLst/>
                        <a:latin typeface="Elevance Sans"/>
                      </a:endParaRPr>
                    </a:p>
                  </a:txBody>
                  <a:tcPr marL="0" marR="0" marT="0" marB="0" anchor="ctr">
                    <a:lnL>
                      <a:noFill/>
                    </a:lnL>
                    <a:lnR>
                      <a:noFill/>
                    </a:lnR>
                    <a:lnT>
                      <a:noFill/>
                    </a:lnT>
                    <a:lnB>
                      <a:noFill/>
                    </a:lnB>
                    <a:noFill/>
                  </a:tcPr>
                </a:tc>
                <a:tc>
                  <a:txBody>
                    <a:bodyPr/>
                    <a:lstStyle/>
                    <a:p>
                      <a:pPr marL="0" algn="l" rtl="0" eaLnBrk="1" latinLnBrk="0" hangingPunct="1">
                        <a:buNone/>
                      </a:pPr>
                      <a:r>
                        <a:rPr lang="en-US" sz="1900" kern="1200" dirty="0">
                          <a:solidFill>
                            <a:srgbClr val="5009B5"/>
                          </a:solidFill>
                          <a:effectLst/>
                          <a:latin typeface="Elevance Sans"/>
                        </a:rPr>
                        <a:t>[{5005, 5006}, {5007, 5008}]</a:t>
                      </a:r>
                      <a:endParaRPr lang="en-US" dirty="0">
                        <a:effectLst/>
                        <a:latin typeface="Elevance Sans"/>
                      </a:endParaRPr>
                    </a:p>
                  </a:txBody>
                  <a:tcPr marL="0" marR="0" marT="0" marB="0" anchor="ctr">
                    <a:lnL>
                      <a:noFill/>
                    </a:lnL>
                    <a:lnR>
                      <a:noFill/>
                    </a:lnR>
                    <a:lnT>
                      <a:noFill/>
                    </a:lnT>
                    <a:lnB>
                      <a:noFill/>
                    </a:lnB>
                    <a:noFill/>
                  </a:tcPr>
                </a:tc>
                <a:extLst>
                  <a:ext uri="{0D108BD9-81ED-4DB2-BD59-A6C34878D82A}">
                    <a16:rowId xmlns:a16="http://schemas.microsoft.com/office/drawing/2014/main" val="517740564"/>
                  </a:ext>
                </a:extLst>
              </a:tr>
            </a:tbl>
          </a:graphicData>
        </a:graphic>
      </p:graphicFrame>
    </p:spTree>
    <p:extLst>
      <p:ext uri="{BB962C8B-B14F-4D97-AF65-F5344CB8AC3E}">
        <p14:creationId xmlns:p14="http://schemas.microsoft.com/office/powerpoint/2010/main" val="15662953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D95116-2287-1EBD-355C-7597C069BEEC}"/>
              </a:ext>
            </a:extLst>
          </p:cNvPr>
          <p:cNvSpPr>
            <a:spLocks noGrp="1"/>
          </p:cNvSpPr>
          <p:nvPr>
            <p:ph type="title"/>
          </p:nvPr>
        </p:nvSpPr>
        <p:spPr/>
        <p:txBody>
          <a:bodyPr/>
          <a:lstStyle/>
          <a:p>
            <a:r>
              <a:rPr lang="en-US" dirty="0"/>
              <a:t>Final Output after group Assignment</a:t>
            </a:r>
          </a:p>
        </p:txBody>
      </p:sp>
      <p:graphicFrame>
        <p:nvGraphicFramePr>
          <p:cNvPr id="4" name="Table 3">
            <a:extLst>
              <a:ext uri="{FF2B5EF4-FFF2-40B4-BE49-F238E27FC236}">
                <a16:creationId xmlns:a16="http://schemas.microsoft.com/office/drawing/2014/main" id="{AFA2109F-BF8C-2B8C-1877-BEB64FD5BD17}"/>
              </a:ext>
            </a:extLst>
          </p:cNvPr>
          <p:cNvGraphicFramePr>
            <a:graphicFrameLocks noGrp="1"/>
          </p:cNvGraphicFramePr>
          <p:nvPr/>
        </p:nvGraphicFramePr>
        <p:xfrm>
          <a:off x="1993900" y="1500759"/>
          <a:ext cx="8204199" cy="3856482"/>
        </p:xfrm>
        <a:graphic>
          <a:graphicData uri="http://schemas.openxmlformats.org/drawingml/2006/table">
            <a:tbl>
              <a:tblPr bandRow="1">
                <a:tableStyleId>{5C22544A-7EE6-4342-B048-85BDC9FD1C3A}</a:tableStyleId>
              </a:tblPr>
              <a:tblGrid>
                <a:gridCol w="2734733">
                  <a:extLst>
                    <a:ext uri="{9D8B030D-6E8A-4147-A177-3AD203B41FA5}">
                      <a16:colId xmlns:a16="http://schemas.microsoft.com/office/drawing/2014/main" val="3752765909"/>
                    </a:ext>
                  </a:extLst>
                </a:gridCol>
                <a:gridCol w="2734733">
                  <a:extLst>
                    <a:ext uri="{9D8B030D-6E8A-4147-A177-3AD203B41FA5}">
                      <a16:colId xmlns:a16="http://schemas.microsoft.com/office/drawing/2014/main" val="3492825188"/>
                    </a:ext>
                  </a:extLst>
                </a:gridCol>
                <a:gridCol w="2734733">
                  <a:extLst>
                    <a:ext uri="{9D8B030D-6E8A-4147-A177-3AD203B41FA5}">
                      <a16:colId xmlns:a16="http://schemas.microsoft.com/office/drawing/2014/main" val="396258623"/>
                    </a:ext>
                  </a:extLst>
                </a:gridCol>
              </a:tblGrid>
              <a:tr h="428498">
                <a:tc>
                  <a:txBody>
                    <a:bodyPr/>
                    <a:lstStyle/>
                    <a:p>
                      <a:pPr marL="0" algn="l" rtl="0" eaLnBrk="1" latinLnBrk="0" hangingPunct="1">
                        <a:buNone/>
                      </a:pPr>
                      <a:r>
                        <a:rPr lang="en-US" sz="1900" b="1" kern="1200">
                          <a:solidFill>
                            <a:srgbClr val="5009B5"/>
                          </a:solidFill>
                          <a:effectLst/>
                          <a:latin typeface="Elevance Sans" panose="020B0604020202020204" charset="0"/>
                        </a:rPr>
                        <a:t>MSTR_PROV_ID</a:t>
                      </a:r>
                      <a:endParaRPr lang="en-US">
                        <a:effectLst/>
                      </a:endParaRPr>
                    </a:p>
                  </a:txBody>
                  <a:tcPr marL="0" marR="0" marT="0" marB="0" anchor="ctr">
                    <a:lnL>
                      <a:noFill/>
                    </a:lnL>
                    <a:lnR>
                      <a:noFill/>
                    </a:lnR>
                    <a:lnT>
                      <a:noFill/>
                    </a:lnT>
                    <a:lnB>
                      <a:noFill/>
                    </a:lnB>
                    <a:noFill/>
                  </a:tcPr>
                </a:tc>
                <a:tc>
                  <a:txBody>
                    <a:bodyPr/>
                    <a:lstStyle/>
                    <a:p>
                      <a:pPr marL="0" algn="l" rtl="0" eaLnBrk="1" latinLnBrk="0" hangingPunct="1">
                        <a:buNone/>
                      </a:pPr>
                      <a:r>
                        <a:rPr lang="en-US" sz="1900" b="1" kern="1200">
                          <a:solidFill>
                            <a:srgbClr val="5009B5"/>
                          </a:solidFill>
                          <a:effectLst/>
                          <a:latin typeface="Elevance Sans" panose="020B0604020202020204" charset="0"/>
                        </a:rPr>
                        <a:t>POA_KEY</a:t>
                      </a:r>
                      <a:endParaRPr lang="en-US">
                        <a:effectLst/>
                      </a:endParaRPr>
                    </a:p>
                  </a:txBody>
                  <a:tcPr marL="0" marR="0" marT="0" marB="0" anchor="ctr">
                    <a:lnL>
                      <a:noFill/>
                    </a:lnL>
                    <a:lnR>
                      <a:noFill/>
                    </a:lnR>
                    <a:lnT>
                      <a:noFill/>
                    </a:lnT>
                    <a:lnB>
                      <a:noFill/>
                    </a:lnB>
                    <a:noFill/>
                  </a:tcPr>
                </a:tc>
                <a:tc>
                  <a:txBody>
                    <a:bodyPr/>
                    <a:lstStyle/>
                    <a:p>
                      <a:pPr marL="0" algn="l" rtl="0" eaLnBrk="1" latinLnBrk="0" hangingPunct="1">
                        <a:buNone/>
                      </a:pPr>
                      <a:r>
                        <a:rPr lang="en-US" sz="1900" b="1" kern="1200">
                          <a:solidFill>
                            <a:srgbClr val="5009B5"/>
                          </a:solidFill>
                          <a:effectLst/>
                          <a:latin typeface="Elevance Sans" panose="020B0604020202020204" charset="0"/>
                        </a:rPr>
                        <a:t>GROUP_ID</a:t>
                      </a:r>
                      <a:endParaRPr lang="en-US">
                        <a:effectLst/>
                      </a:endParaRPr>
                    </a:p>
                  </a:txBody>
                  <a:tcPr marL="0" marR="0" marT="0" marB="0" anchor="ctr">
                    <a:lnL>
                      <a:noFill/>
                    </a:lnL>
                    <a:lnR>
                      <a:noFill/>
                    </a:lnR>
                    <a:lnT>
                      <a:noFill/>
                    </a:lnT>
                    <a:lnB>
                      <a:noFill/>
                    </a:lnB>
                    <a:noFill/>
                  </a:tcPr>
                </a:tc>
                <a:extLst>
                  <a:ext uri="{0D108BD9-81ED-4DB2-BD59-A6C34878D82A}">
                    <a16:rowId xmlns:a16="http://schemas.microsoft.com/office/drawing/2014/main" val="1664351092"/>
                  </a:ext>
                </a:extLst>
              </a:tr>
              <a:tr h="428498">
                <a:tc>
                  <a:txBody>
                    <a:bodyPr/>
                    <a:lstStyle/>
                    <a:p>
                      <a:pPr marL="0" algn="l" rtl="0" eaLnBrk="1" latinLnBrk="0" hangingPunct="1">
                        <a:buNone/>
                      </a:pPr>
                      <a:r>
                        <a:rPr lang="en-US" sz="1900" kern="1200">
                          <a:solidFill>
                            <a:srgbClr val="5009B5"/>
                          </a:solidFill>
                          <a:effectLst/>
                          <a:latin typeface="Elevance Sans" panose="020B0604020202020204" charset="0"/>
                        </a:rPr>
                        <a:t>1001</a:t>
                      </a:r>
                      <a:endParaRPr lang="en-US">
                        <a:effectLst/>
                      </a:endParaRPr>
                    </a:p>
                  </a:txBody>
                  <a:tcPr marL="0" marR="0" marT="0" marB="0" anchor="ctr">
                    <a:lnL>
                      <a:noFill/>
                    </a:lnL>
                    <a:lnR>
                      <a:noFill/>
                    </a:lnR>
                    <a:lnT>
                      <a:noFill/>
                    </a:lnT>
                    <a:lnB>
                      <a:noFill/>
                    </a:lnB>
                    <a:noFill/>
                  </a:tcPr>
                </a:tc>
                <a:tc>
                  <a:txBody>
                    <a:bodyPr/>
                    <a:lstStyle/>
                    <a:p>
                      <a:pPr marL="0" algn="l" rtl="0" eaLnBrk="1" latinLnBrk="0" hangingPunct="1">
                        <a:buNone/>
                      </a:pPr>
                      <a:r>
                        <a:rPr lang="en-US" sz="1900" kern="1200">
                          <a:solidFill>
                            <a:srgbClr val="5009B5"/>
                          </a:solidFill>
                          <a:effectLst/>
                          <a:latin typeface="Elevance Sans" panose="020B0604020202020204" charset="0"/>
                        </a:rPr>
                        <a:t>5001</a:t>
                      </a:r>
                      <a:endParaRPr lang="en-US">
                        <a:effectLst/>
                      </a:endParaRPr>
                    </a:p>
                  </a:txBody>
                  <a:tcPr marL="0" marR="0" marT="0" marB="0" anchor="ctr">
                    <a:lnL>
                      <a:noFill/>
                    </a:lnL>
                    <a:lnR>
                      <a:noFill/>
                    </a:lnR>
                    <a:lnT>
                      <a:noFill/>
                    </a:lnT>
                    <a:lnB>
                      <a:noFill/>
                    </a:lnB>
                    <a:noFill/>
                  </a:tcPr>
                </a:tc>
                <a:tc>
                  <a:txBody>
                    <a:bodyPr/>
                    <a:lstStyle/>
                    <a:p>
                      <a:pPr marL="0" algn="l" rtl="0" eaLnBrk="1" latinLnBrk="0" hangingPunct="1">
                        <a:buNone/>
                      </a:pPr>
                      <a:r>
                        <a:rPr lang="en-US" sz="1900" kern="1200">
                          <a:solidFill>
                            <a:srgbClr val="5009B5"/>
                          </a:solidFill>
                          <a:effectLst/>
                          <a:latin typeface="Elevance Sans" panose="020B0604020202020204" charset="0"/>
                        </a:rPr>
                        <a:t>1</a:t>
                      </a:r>
                      <a:endParaRPr lang="en-US">
                        <a:effectLst/>
                      </a:endParaRPr>
                    </a:p>
                  </a:txBody>
                  <a:tcPr marL="0" marR="0" marT="0" marB="0" anchor="ctr">
                    <a:lnL>
                      <a:noFill/>
                    </a:lnL>
                    <a:lnR>
                      <a:noFill/>
                    </a:lnR>
                    <a:lnT>
                      <a:noFill/>
                    </a:lnT>
                    <a:lnB>
                      <a:noFill/>
                    </a:lnB>
                    <a:noFill/>
                  </a:tcPr>
                </a:tc>
                <a:extLst>
                  <a:ext uri="{0D108BD9-81ED-4DB2-BD59-A6C34878D82A}">
                    <a16:rowId xmlns:a16="http://schemas.microsoft.com/office/drawing/2014/main" val="3036245042"/>
                  </a:ext>
                </a:extLst>
              </a:tr>
              <a:tr h="428498">
                <a:tc>
                  <a:txBody>
                    <a:bodyPr/>
                    <a:lstStyle/>
                    <a:p>
                      <a:pPr marL="0" algn="l" rtl="0" eaLnBrk="1" latinLnBrk="0" hangingPunct="1">
                        <a:buNone/>
                      </a:pPr>
                      <a:r>
                        <a:rPr lang="en-US" sz="1900" kern="1200">
                          <a:solidFill>
                            <a:srgbClr val="5009B5"/>
                          </a:solidFill>
                          <a:effectLst/>
                          <a:latin typeface="Elevance Sans" panose="020B0604020202020204" charset="0"/>
                        </a:rPr>
                        <a:t>1001</a:t>
                      </a:r>
                      <a:endParaRPr lang="en-US">
                        <a:effectLst/>
                      </a:endParaRPr>
                    </a:p>
                  </a:txBody>
                  <a:tcPr marL="0" marR="0" marT="0" marB="0" anchor="ctr">
                    <a:lnL>
                      <a:noFill/>
                    </a:lnL>
                    <a:lnR>
                      <a:noFill/>
                    </a:lnR>
                    <a:lnT>
                      <a:noFill/>
                    </a:lnT>
                    <a:lnB>
                      <a:noFill/>
                    </a:lnB>
                    <a:noFill/>
                  </a:tcPr>
                </a:tc>
                <a:tc>
                  <a:txBody>
                    <a:bodyPr/>
                    <a:lstStyle/>
                    <a:p>
                      <a:pPr marL="0" algn="l" rtl="0" eaLnBrk="1" latinLnBrk="0" hangingPunct="1">
                        <a:buNone/>
                      </a:pPr>
                      <a:r>
                        <a:rPr lang="en-US" sz="1900" kern="1200">
                          <a:solidFill>
                            <a:srgbClr val="5009B5"/>
                          </a:solidFill>
                          <a:effectLst/>
                          <a:latin typeface="Elevance Sans" panose="020B0604020202020204" charset="0"/>
                        </a:rPr>
                        <a:t>5002</a:t>
                      </a:r>
                      <a:endParaRPr lang="en-US">
                        <a:effectLst/>
                      </a:endParaRPr>
                    </a:p>
                  </a:txBody>
                  <a:tcPr marL="0" marR="0" marT="0" marB="0" anchor="ctr">
                    <a:lnL>
                      <a:noFill/>
                    </a:lnL>
                    <a:lnR>
                      <a:noFill/>
                    </a:lnR>
                    <a:lnT>
                      <a:noFill/>
                    </a:lnT>
                    <a:lnB>
                      <a:noFill/>
                    </a:lnB>
                    <a:noFill/>
                  </a:tcPr>
                </a:tc>
                <a:tc>
                  <a:txBody>
                    <a:bodyPr/>
                    <a:lstStyle/>
                    <a:p>
                      <a:pPr marL="0" algn="l" rtl="0" eaLnBrk="1" latinLnBrk="0" hangingPunct="1">
                        <a:buNone/>
                      </a:pPr>
                      <a:r>
                        <a:rPr lang="en-US" sz="1900" kern="1200">
                          <a:solidFill>
                            <a:srgbClr val="5009B5"/>
                          </a:solidFill>
                          <a:effectLst/>
                          <a:latin typeface="Elevance Sans" panose="020B0604020202020204" charset="0"/>
                        </a:rPr>
                        <a:t>1</a:t>
                      </a:r>
                      <a:endParaRPr lang="en-US">
                        <a:effectLst/>
                      </a:endParaRPr>
                    </a:p>
                  </a:txBody>
                  <a:tcPr marL="0" marR="0" marT="0" marB="0" anchor="ctr">
                    <a:lnL>
                      <a:noFill/>
                    </a:lnL>
                    <a:lnR>
                      <a:noFill/>
                    </a:lnR>
                    <a:lnT>
                      <a:noFill/>
                    </a:lnT>
                    <a:lnB>
                      <a:noFill/>
                    </a:lnB>
                    <a:noFill/>
                  </a:tcPr>
                </a:tc>
                <a:extLst>
                  <a:ext uri="{0D108BD9-81ED-4DB2-BD59-A6C34878D82A}">
                    <a16:rowId xmlns:a16="http://schemas.microsoft.com/office/drawing/2014/main" val="2136882553"/>
                  </a:ext>
                </a:extLst>
              </a:tr>
              <a:tr h="428498">
                <a:tc>
                  <a:txBody>
                    <a:bodyPr/>
                    <a:lstStyle/>
                    <a:p>
                      <a:pPr marL="0" algn="l" rtl="0" eaLnBrk="1" latinLnBrk="0" hangingPunct="1">
                        <a:buNone/>
                      </a:pPr>
                      <a:r>
                        <a:rPr lang="en-US" sz="1900" kern="1200">
                          <a:solidFill>
                            <a:srgbClr val="5009B5"/>
                          </a:solidFill>
                          <a:effectLst/>
                          <a:latin typeface="Elevance Sans" panose="020B0604020202020204" charset="0"/>
                        </a:rPr>
                        <a:t>1001</a:t>
                      </a:r>
                      <a:endParaRPr lang="en-US">
                        <a:effectLst/>
                      </a:endParaRPr>
                    </a:p>
                  </a:txBody>
                  <a:tcPr marL="0" marR="0" marT="0" marB="0" anchor="ctr">
                    <a:lnL>
                      <a:noFill/>
                    </a:lnL>
                    <a:lnR>
                      <a:noFill/>
                    </a:lnR>
                    <a:lnT>
                      <a:noFill/>
                    </a:lnT>
                    <a:lnB>
                      <a:noFill/>
                    </a:lnB>
                    <a:noFill/>
                  </a:tcPr>
                </a:tc>
                <a:tc>
                  <a:txBody>
                    <a:bodyPr/>
                    <a:lstStyle/>
                    <a:p>
                      <a:pPr marL="0" algn="l" rtl="0" eaLnBrk="1" latinLnBrk="0" hangingPunct="1">
                        <a:buNone/>
                      </a:pPr>
                      <a:r>
                        <a:rPr lang="en-US" sz="1900" kern="1200">
                          <a:solidFill>
                            <a:srgbClr val="5009B5"/>
                          </a:solidFill>
                          <a:effectLst/>
                          <a:latin typeface="Elevance Sans" panose="020B0604020202020204" charset="0"/>
                        </a:rPr>
                        <a:t>5003</a:t>
                      </a:r>
                      <a:endParaRPr lang="en-US">
                        <a:effectLst/>
                      </a:endParaRPr>
                    </a:p>
                  </a:txBody>
                  <a:tcPr marL="0" marR="0" marT="0" marB="0" anchor="ctr">
                    <a:lnL>
                      <a:noFill/>
                    </a:lnL>
                    <a:lnR>
                      <a:noFill/>
                    </a:lnR>
                    <a:lnT>
                      <a:noFill/>
                    </a:lnT>
                    <a:lnB>
                      <a:noFill/>
                    </a:lnB>
                    <a:noFill/>
                  </a:tcPr>
                </a:tc>
                <a:tc>
                  <a:txBody>
                    <a:bodyPr/>
                    <a:lstStyle/>
                    <a:p>
                      <a:pPr marL="0" algn="l" rtl="0" eaLnBrk="1" latinLnBrk="0" hangingPunct="1">
                        <a:buNone/>
                      </a:pPr>
                      <a:r>
                        <a:rPr lang="en-US" sz="1900" kern="1200">
                          <a:solidFill>
                            <a:srgbClr val="5009B5"/>
                          </a:solidFill>
                          <a:effectLst/>
                          <a:latin typeface="Elevance Sans" panose="020B0604020202020204" charset="0"/>
                        </a:rPr>
                        <a:t>2</a:t>
                      </a:r>
                      <a:endParaRPr lang="en-US">
                        <a:effectLst/>
                      </a:endParaRPr>
                    </a:p>
                  </a:txBody>
                  <a:tcPr marL="0" marR="0" marT="0" marB="0" anchor="ctr">
                    <a:lnL>
                      <a:noFill/>
                    </a:lnL>
                    <a:lnR>
                      <a:noFill/>
                    </a:lnR>
                    <a:lnT>
                      <a:noFill/>
                    </a:lnT>
                    <a:lnB>
                      <a:noFill/>
                    </a:lnB>
                    <a:noFill/>
                  </a:tcPr>
                </a:tc>
                <a:extLst>
                  <a:ext uri="{0D108BD9-81ED-4DB2-BD59-A6C34878D82A}">
                    <a16:rowId xmlns:a16="http://schemas.microsoft.com/office/drawing/2014/main" val="119147774"/>
                  </a:ext>
                </a:extLst>
              </a:tr>
              <a:tr h="428498">
                <a:tc>
                  <a:txBody>
                    <a:bodyPr/>
                    <a:lstStyle/>
                    <a:p>
                      <a:pPr marL="0" algn="l" rtl="0" eaLnBrk="1" latinLnBrk="0" hangingPunct="1">
                        <a:buNone/>
                      </a:pPr>
                      <a:r>
                        <a:rPr lang="en-US" sz="1900" kern="1200">
                          <a:solidFill>
                            <a:srgbClr val="5009B5"/>
                          </a:solidFill>
                          <a:effectLst/>
                          <a:latin typeface="Elevance Sans" panose="020B0604020202020204" charset="0"/>
                        </a:rPr>
                        <a:t>1001</a:t>
                      </a:r>
                      <a:endParaRPr lang="en-US">
                        <a:effectLst/>
                      </a:endParaRPr>
                    </a:p>
                  </a:txBody>
                  <a:tcPr marL="0" marR="0" marT="0" marB="0" anchor="ctr">
                    <a:lnL>
                      <a:noFill/>
                    </a:lnL>
                    <a:lnR>
                      <a:noFill/>
                    </a:lnR>
                    <a:lnT>
                      <a:noFill/>
                    </a:lnT>
                    <a:lnB>
                      <a:noFill/>
                    </a:lnB>
                    <a:noFill/>
                  </a:tcPr>
                </a:tc>
                <a:tc>
                  <a:txBody>
                    <a:bodyPr/>
                    <a:lstStyle/>
                    <a:p>
                      <a:pPr marL="0" algn="l" rtl="0" eaLnBrk="1" latinLnBrk="0" hangingPunct="1">
                        <a:buNone/>
                      </a:pPr>
                      <a:r>
                        <a:rPr lang="en-US" sz="1900" kern="1200">
                          <a:solidFill>
                            <a:srgbClr val="5009B5"/>
                          </a:solidFill>
                          <a:effectLst/>
                          <a:latin typeface="Elevance Sans" panose="020B0604020202020204" charset="0"/>
                        </a:rPr>
                        <a:t>5004</a:t>
                      </a:r>
                      <a:endParaRPr lang="en-US">
                        <a:effectLst/>
                      </a:endParaRPr>
                    </a:p>
                  </a:txBody>
                  <a:tcPr marL="0" marR="0" marT="0" marB="0" anchor="ctr">
                    <a:lnL>
                      <a:noFill/>
                    </a:lnL>
                    <a:lnR>
                      <a:noFill/>
                    </a:lnR>
                    <a:lnT>
                      <a:noFill/>
                    </a:lnT>
                    <a:lnB>
                      <a:noFill/>
                    </a:lnB>
                    <a:noFill/>
                  </a:tcPr>
                </a:tc>
                <a:tc>
                  <a:txBody>
                    <a:bodyPr/>
                    <a:lstStyle/>
                    <a:p>
                      <a:pPr marL="0" algn="l" rtl="0" eaLnBrk="1" latinLnBrk="0" hangingPunct="1">
                        <a:buNone/>
                      </a:pPr>
                      <a:r>
                        <a:rPr lang="en-US" sz="1900" kern="1200">
                          <a:solidFill>
                            <a:srgbClr val="5009B5"/>
                          </a:solidFill>
                          <a:effectLst/>
                          <a:latin typeface="Elevance Sans" panose="020B0604020202020204" charset="0"/>
                        </a:rPr>
                        <a:t>3</a:t>
                      </a:r>
                      <a:endParaRPr lang="en-US">
                        <a:effectLst/>
                      </a:endParaRPr>
                    </a:p>
                  </a:txBody>
                  <a:tcPr marL="0" marR="0" marT="0" marB="0" anchor="ctr">
                    <a:lnL>
                      <a:noFill/>
                    </a:lnL>
                    <a:lnR>
                      <a:noFill/>
                    </a:lnR>
                    <a:lnT>
                      <a:noFill/>
                    </a:lnT>
                    <a:lnB>
                      <a:noFill/>
                    </a:lnB>
                    <a:noFill/>
                  </a:tcPr>
                </a:tc>
                <a:extLst>
                  <a:ext uri="{0D108BD9-81ED-4DB2-BD59-A6C34878D82A}">
                    <a16:rowId xmlns:a16="http://schemas.microsoft.com/office/drawing/2014/main" val="3733555080"/>
                  </a:ext>
                </a:extLst>
              </a:tr>
              <a:tr h="428498">
                <a:tc>
                  <a:txBody>
                    <a:bodyPr/>
                    <a:lstStyle/>
                    <a:p>
                      <a:pPr marL="0" algn="l" rtl="0" eaLnBrk="1" latinLnBrk="0" hangingPunct="1">
                        <a:buNone/>
                      </a:pPr>
                      <a:r>
                        <a:rPr lang="en-US" sz="1900" kern="1200">
                          <a:solidFill>
                            <a:srgbClr val="5009B5"/>
                          </a:solidFill>
                          <a:effectLst/>
                          <a:latin typeface="Elevance Sans" panose="020B0604020202020204" charset="0"/>
                        </a:rPr>
                        <a:t>1002</a:t>
                      </a:r>
                      <a:endParaRPr lang="en-US">
                        <a:effectLst/>
                      </a:endParaRPr>
                    </a:p>
                  </a:txBody>
                  <a:tcPr marL="0" marR="0" marT="0" marB="0" anchor="ctr">
                    <a:lnL>
                      <a:noFill/>
                    </a:lnL>
                    <a:lnR>
                      <a:noFill/>
                    </a:lnR>
                    <a:lnT>
                      <a:noFill/>
                    </a:lnT>
                    <a:lnB>
                      <a:noFill/>
                    </a:lnB>
                    <a:noFill/>
                  </a:tcPr>
                </a:tc>
                <a:tc>
                  <a:txBody>
                    <a:bodyPr/>
                    <a:lstStyle/>
                    <a:p>
                      <a:pPr marL="0" algn="l" rtl="0" eaLnBrk="1" latinLnBrk="0" hangingPunct="1">
                        <a:buNone/>
                      </a:pPr>
                      <a:r>
                        <a:rPr lang="en-US" sz="1900" kern="1200">
                          <a:solidFill>
                            <a:srgbClr val="5009B5"/>
                          </a:solidFill>
                          <a:effectLst/>
                          <a:latin typeface="Elevance Sans" panose="020B0604020202020204" charset="0"/>
                        </a:rPr>
                        <a:t>5005</a:t>
                      </a:r>
                      <a:endParaRPr lang="en-US">
                        <a:effectLst/>
                      </a:endParaRPr>
                    </a:p>
                  </a:txBody>
                  <a:tcPr marL="0" marR="0" marT="0" marB="0" anchor="ctr">
                    <a:lnL>
                      <a:noFill/>
                    </a:lnL>
                    <a:lnR>
                      <a:noFill/>
                    </a:lnR>
                    <a:lnT>
                      <a:noFill/>
                    </a:lnT>
                    <a:lnB>
                      <a:noFill/>
                    </a:lnB>
                    <a:noFill/>
                  </a:tcPr>
                </a:tc>
                <a:tc>
                  <a:txBody>
                    <a:bodyPr/>
                    <a:lstStyle/>
                    <a:p>
                      <a:pPr marL="0" algn="l" rtl="0" eaLnBrk="1" latinLnBrk="0" hangingPunct="1">
                        <a:buNone/>
                      </a:pPr>
                      <a:r>
                        <a:rPr lang="en-US" sz="1900" kern="1200">
                          <a:solidFill>
                            <a:srgbClr val="5009B5"/>
                          </a:solidFill>
                          <a:effectLst/>
                          <a:latin typeface="Elevance Sans" panose="020B0604020202020204" charset="0"/>
                        </a:rPr>
                        <a:t>1</a:t>
                      </a:r>
                      <a:endParaRPr lang="en-US">
                        <a:effectLst/>
                      </a:endParaRPr>
                    </a:p>
                  </a:txBody>
                  <a:tcPr marL="0" marR="0" marT="0" marB="0" anchor="ctr">
                    <a:lnL>
                      <a:noFill/>
                    </a:lnL>
                    <a:lnR>
                      <a:noFill/>
                    </a:lnR>
                    <a:lnT>
                      <a:noFill/>
                    </a:lnT>
                    <a:lnB>
                      <a:noFill/>
                    </a:lnB>
                    <a:noFill/>
                  </a:tcPr>
                </a:tc>
                <a:extLst>
                  <a:ext uri="{0D108BD9-81ED-4DB2-BD59-A6C34878D82A}">
                    <a16:rowId xmlns:a16="http://schemas.microsoft.com/office/drawing/2014/main" val="3384587135"/>
                  </a:ext>
                </a:extLst>
              </a:tr>
              <a:tr h="428498">
                <a:tc>
                  <a:txBody>
                    <a:bodyPr/>
                    <a:lstStyle/>
                    <a:p>
                      <a:pPr marL="0" algn="l" rtl="0" eaLnBrk="1" latinLnBrk="0" hangingPunct="1">
                        <a:buNone/>
                      </a:pPr>
                      <a:r>
                        <a:rPr lang="en-US" sz="1900" kern="1200">
                          <a:solidFill>
                            <a:srgbClr val="5009B5"/>
                          </a:solidFill>
                          <a:effectLst/>
                          <a:latin typeface="Elevance Sans" panose="020B0604020202020204" charset="0"/>
                        </a:rPr>
                        <a:t>1002</a:t>
                      </a:r>
                      <a:endParaRPr lang="en-US">
                        <a:effectLst/>
                      </a:endParaRPr>
                    </a:p>
                  </a:txBody>
                  <a:tcPr marL="0" marR="0" marT="0" marB="0" anchor="ctr">
                    <a:lnL>
                      <a:noFill/>
                    </a:lnL>
                    <a:lnR>
                      <a:noFill/>
                    </a:lnR>
                    <a:lnT>
                      <a:noFill/>
                    </a:lnT>
                    <a:lnB>
                      <a:noFill/>
                    </a:lnB>
                    <a:noFill/>
                  </a:tcPr>
                </a:tc>
                <a:tc>
                  <a:txBody>
                    <a:bodyPr/>
                    <a:lstStyle/>
                    <a:p>
                      <a:pPr marL="0" algn="l" rtl="0" eaLnBrk="1" latinLnBrk="0" hangingPunct="1">
                        <a:buNone/>
                      </a:pPr>
                      <a:r>
                        <a:rPr lang="en-US" sz="1900" kern="1200">
                          <a:solidFill>
                            <a:srgbClr val="5009B5"/>
                          </a:solidFill>
                          <a:effectLst/>
                          <a:latin typeface="Elevance Sans" panose="020B0604020202020204" charset="0"/>
                        </a:rPr>
                        <a:t>5006</a:t>
                      </a:r>
                      <a:endParaRPr lang="en-US">
                        <a:effectLst/>
                      </a:endParaRPr>
                    </a:p>
                  </a:txBody>
                  <a:tcPr marL="0" marR="0" marT="0" marB="0" anchor="ctr">
                    <a:lnL>
                      <a:noFill/>
                    </a:lnL>
                    <a:lnR>
                      <a:noFill/>
                    </a:lnR>
                    <a:lnT>
                      <a:noFill/>
                    </a:lnT>
                    <a:lnB>
                      <a:noFill/>
                    </a:lnB>
                    <a:noFill/>
                  </a:tcPr>
                </a:tc>
                <a:tc>
                  <a:txBody>
                    <a:bodyPr/>
                    <a:lstStyle/>
                    <a:p>
                      <a:pPr marL="0" algn="l" rtl="0" eaLnBrk="1" latinLnBrk="0" hangingPunct="1">
                        <a:buNone/>
                      </a:pPr>
                      <a:r>
                        <a:rPr lang="en-US" sz="1900" kern="1200">
                          <a:solidFill>
                            <a:srgbClr val="5009B5"/>
                          </a:solidFill>
                          <a:effectLst/>
                          <a:latin typeface="Elevance Sans" panose="020B0604020202020204" charset="0"/>
                        </a:rPr>
                        <a:t>1</a:t>
                      </a:r>
                      <a:endParaRPr lang="en-US">
                        <a:effectLst/>
                      </a:endParaRPr>
                    </a:p>
                  </a:txBody>
                  <a:tcPr marL="0" marR="0" marT="0" marB="0" anchor="ctr">
                    <a:lnL>
                      <a:noFill/>
                    </a:lnL>
                    <a:lnR>
                      <a:noFill/>
                    </a:lnR>
                    <a:lnT>
                      <a:noFill/>
                    </a:lnT>
                    <a:lnB>
                      <a:noFill/>
                    </a:lnB>
                    <a:noFill/>
                  </a:tcPr>
                </a:tc>
                <a:extLst>
                  <a:ext uri="{0D108BD9-81ED-4DB2-BD59-A6C34878D82A}">
                    <a16:rowId xmlns:a16="http://schemas.microsoft.com/office/drawing/2014/main" val="4196504510"/>
                  </a:ext>
                </a:extLst>
              </a:tr>
              <a:tr h="428498">
                <a:tc>
                  <a:txBody>
                    <a:bodyPr/>
                    <a:lstStyle/>
                    <a:p>
                      <a:pPr marL="0" algn="l" rtl="0" eaLnBrk="1" latinLnBrk="0" hangingPunct="1">
                        <a:buNone/>
                      </a:pPr>
                      <a:r>
                        <a:rPr lang="en-US" sz="1900" kern="1200">
                          <a:solidFill>
                            <a:srgbClr val="5009B5"/>
                          </a:solidFill>
                          <a:effectLst/>
                          <a:latin typeface="Elevance Sans" panose="020B0604020202020204" charset="0"/>
                        </a:rPr>
                        <a:t>1002</a:t>
                      </a:r>
                      <a:endParaRPr lang="en-US">
                        <a:effectLst/>
                      </a:endParaRPr>
                    </a:p>
                  </a:txBody>
                  <a:tcPr marL="0" marR="0" marT="0" marB="0" anchor="ctr">
                    <a:lnL>
                      <a:noFill/>
                    </a:lnL>
                    <a:lnR>
                      <a:noFill/>
                    </a:lnR>
                    <a:lnT>
                      <a:noFill/>
                    </a:lnT>
                    <a:lnB>
                      <a:noFill/>
                    </a:lnB>
                    <a:noFill/>
                  </a:tcPr>
                </a:tc>
                <a:tc>
                  <a:txBody>
                    <a:bodyPr/>
                    <a:lstStyle/>
                    <a:p>
                      <a:pPr marL="0" algn="l" rtl="0" eaLnBrk="1" latinLnBrk="0" hangingPunct="1">
                        <a:buNone/>
                      </a:pPr>
                      <a:r>
                        <a:rPr lang="en-US" sz="1900" kern="1200">
                          <a:solidFill>
                            <a:srgbClr val="5009B5"/>
                          </a:solidFill>
                          <a:effectLst/>
                          <a:latin typeface="Elevance Sans" panose="020B0604020202020204" charset="0"/>
                        </a:rPr>
                        <a:t>5007</a:t>
                      </a:r>
                      <a:endParaRPr lang="en-US">
                        <a:effectLst/>
                      </a:endParaRPr>
                    </a:p>
                  </a:txBody>
                  <a:tcPr marL="0" marR="0" marT="0" marB="0" anchor="ctr">
                    <a:lnL>
                      <a:noFill/>
                    </a:lnL>
                    <a:lnR>
                      <a:noFill/>
                    </a:lnR>
                    <a:lnT>
                      <a:noFill/>
                    </a:lnT>
                    <a:lnB>
                      <a:noFill/>
                    </a:lnB>
                    <a:noFill/>
                  </a:tcPr>
                </a:tc>
                <a:tc>
                  <a:txBody>
                    <a:bodyPr/>
                    <a:lstStyle/>
                    <a:p>
                      <a:pPr marL="0" algn="l" rtl="0" eaLnBrk="1" latinLnBrk="0" hangingPunct="1">
                        <a:buNone/>
                      </a:pPr>
                      <a:r>
                        <a:rPr lang="en-US" sz="1900" kern="1200">
                          <a:solidFill>
                            <a:srgbClr val="5009B5"/>
                          </a:solidFill>
                          <a:effectLst/>
                          <a:latin typeface="Elevance Sans" panose="020B0604020202020204" charset="0"/>
                        </a:rPr>
                        <a:t>2</a:t>
                      </a:r>
                      <a:endParaRPr lang="en-US">
                        <a:effectLst/>
                      </a:endParaRPr>
                    </a:p>
                  </a:txBody>
                  <a:tcPr marL="0" marR="0" marT="0" marB="0" anchor="ctr">
                    <a:lnL>
                      <a:noFill/>
                    </a:lnL>
                    <a:lnR>
                      <a:noFill/>
                    </a:lnR>
                    <a:lnT>
                      <a:noFill/>
                    </a:lnT>
                    <a:lnB>
                      <a:noFill/>
                    </a:lnB>
                    <a:noFill/>
                  </a:tcPr>
                </a:tc>
                <a:extLst>
                  <a:ext uri="{0D108BD9-81ED-4DB2-BD59-A6C34878D82A}">
                    <a16:rowId xmlns:a16="http://schemas.microsoft.com/office/drawing/2014/main" val="2025815348"/>
                  </a:ext>
                </a:extLst>
              </a:tr>
              <a:tr h="428498">
                <a:tc>
                  <a:txBody>
                    <a:bodyPr/>
                    <a:lstStyle/>
                    <a:p>
                      <a:pPr marL="0" algn="l" rtl="0" eaLnBrk="1" latinLnBrk="0" hangingPunct="1">
                        <a:buNone/>
                      </a:pPr>
                      <a:r>
                        <a:rPr lang="en-US" sz="1900" kern="1200">
                          <a:solidFill>
                            <a:srgbClr val="5009B5"/>
                          </a:solidFill>
                          <a:effectLst/>
                          <a:latin typeface="Elevance Sans" panose="020B0604020202020204" charset="0"/>
                        </a:rPr>
                        <a:t>1002</a:t>
                      </a:r>
                      <a:endParaRPr lang="en-US">
                        <a:effectLst/>
                      </a:endParaRPr>
                    </a:p>
                  </a:txBody>
                  <a:tcPr marL="0" marR="0" marT="0" marB="0" anchor="ctr">
                    <a:lnL>
                      <a:noFill/>
                    </a:lnL>
                    <a:lnR>
                      <a:noFill/>
                    </a:lnR>
                    <a:lnT>
                      <a:noFill/>
                    </a:lnT>
                    <a:lnB>
                      <a:noFill/>
                    </a:lnB>
                    <a:noFill/>
                  </a:tcPr>
                </a:tc>
                <a:tc>
                  <a:txBody>
                    <a:bodyPr/>
                    <a:lstStyle/>
                    <a:p>
                      <a:pPr marL="0" algn="l" rtl="0" eaLnBrk="1" latinLnBrk="0" hangingPunct="1">
                        <a:buNone/>
                      </a:pPr>
                      <a:r>
                        <a:rPr lang="en-US" sz="1900" kern="1200">
                          <a:solidFill>
                            <a:srgbClr val="5009B5"/>
                          </a:solidFill>
                          <a:effectLst/>
                          <a:latin typeface="Elevance Sans" panose="020B0604020202020204" charset="0"/>
                        </a:rPr>
                        <a:t>5008</a:t>
                      </a:r>
                      <a:endParaRPr lang="en-US">
                        <a:effectLst/>
                      </a:endParaRPr>
                    </a:p>
                  </a:txBody>
                  <a:tcPr marL="0" marR="0" marT="0" marB="0" anchor="ctr">
                    <a:lnL>
                      <a:noFill/>
                    </a:lnL>
                    <a:lnR>
                      <a:noFill/>
                    </a:lnR>
                    <a:lnT>
                      <a:noFill/>
                    </a:lnT>
                    <a:lnB>
                      <a:noFill/>
                    </a:lnB>
                    <a:noFill/>
                  </a:tcPr>
                </a:tc>
                <a:tc>
                  <a:txBody>
                    <a:bodyPr/>
                    <a:lstStyle/>
                    <a:p>
                      <a:pPr marL="0" algn="l" rtl="0" eaLnBrk="1" latinLnBrk="0" hangingPunct="1">
                        <a:buNone/>
                      </a:pPr>
                      <a:r>
                        <a:rPr lang="en-US" sz="1900" kern="1200">
                          <a:solidFill>
                            <a:srgbClr val="5009B5"/>
                          </a:solidFill>
                          <a:effectLst/>
                          <a:latin typeface="Elevance Sans" panose="020B0604020202020204" charset="0"/>
                        </a:rPr>
                        <a:t>2</a:t>
                      </a:r>
                      <a:endParaRPr lang="en-US">
                        <a:effectLst/>
                      </a:endParaRPr>
                    </a:p>
                  </a:txBody>
                  <a:tcPr marL="0" marR="0" marT="0" marB="0" anchor="ctr">
                    <a:lnL>
                      <a:noFill/>
                    </a:lnL>
                    <a:lnR>
                      <a:noFill/>
                    </a:lnR>
                    <a:lnT>
                      <a:noFill/>
                    </a:lnT>
                    <a:lnB>
                      <a:noFill/>
                    </a:lnB>
                    <a:noFill/>
                  </a:tcPr>
                </a:tc>
                <a:extLst>
                  <a:ext uri="{0D108BD9-81ED-4DB2-BD59-A6C34878D82A}">
                    <a16:rowId xmlns:a16="http://schemas.microsoft.com/office/drawing/2014/main" val="1984431607"/>
                  </a:ext>
                </a:extLst>
              </a:tr>
            </a:tbl>
          </a:graphicData>
        </a:graphic>
      </p:graphicFrame>
    </p:spTree>
    <p:extLst>
      <p:ext uri="{BB962C8B-B14F-4D97-AF65-F5344CB8AC3E}">
        <p14:creationId xmlns:p14="http://schemas.microsoft.com/office/powerpoint/2010/main" val="704042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relon">
  <a:themeElements>
    <a:clrScheme name="Carelon">
      <a:dk1>
        <a:srgbClr val="5009B5"/>
      </a:dk1>
      <a:lt1>
        <a:srgbClr val="FFFFFF"/>
      </a:lt1>
      <a:dk2>
        <a:srgbClr val="231E33"/>
      </a:dk2>
      <a:lt2>
        <a:srgbClr val="E1EDFF"/>
      </a:lt2>
      <a:accent1>
        <a:srgbClr val="5009B5"/>
      </a:accent1>
      <a:accent2>
        <a:srgbClr val="794CFF"/>
      </a:accent2>
      <a:accent3>
        <a:srgbClr val="2B1B49"/>
      </a:accent3>
      <a:accent4>
        <a:srgbClr val="F5F5F5"/>
      </a:accent4>
      <a:accent5>
        <a:srgbClr val="00BBBA"/>
      </a:accent5>
      <a:accent6>
        <a:srgbClr val="44B8F3"/>
      </a:accent6>
      <a:hlink>
        <a:srgbClr val="0F61FE"/>
      </a:hlink>
      <a:folHlink>
        <a:srgbClr val="7030A0"/>
      </a:folHlink>
    </a:clrScheme>
    <a:fontScheme name="Elevance">
      <a:majorFont>
        <a:latin typeface="Elevance Sans Medium"/>
        <a:ea typeface=""/>
        <a:cs typeface=""/>
      </a:majorFont>
      <a:minorFont>
        <a:latin typeface="Elevanc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231E3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dirty="0" smtClean="0">
            <a:solidFill>
              <a:schemeClr val="tx2"/>
            </a:solidFill>
          </a:defRPr>
        </a:defPPr>
      </a:lstStyle>
    </a:txDef>
  </a:objectDefaults>
  <a:extraClrSchemeLst/>
  <a:custClrLst>
    <a:custClr name="Purple">
      <a:srgbClr val="5009B5"/>
    </a:custClr>
    <a:custClr name="Light Purple">
      <a:srgbClr val="794CFF"/>
    </a:custClr>
    <a:custClr name="Pale Purple">
      <a:srgbClr val="EBE4FF"/>
    </a:custClr>
    <a:custClr name="Turquoise">
      <a:srgbClr val="00BBBA"/>
    </a:custClr>
    <a:custClr name="Pale Turquoise">
      <a:srgbClr val="D9F5F5"/>
    </a:custClr>
    <a:custClr name="Cyan">
      <a:srgbClr val="44B8F3"/>
    </a:custClr>
    <a:custClr name="Pale Cyan">
      <a:srgbClr val="E1EDFF"/>
    </a:custClr>
    <a:custClr name="Dark Gray">
      <a:srgbClr val="231E33"/>
    </a:custClr>
    <a:custClr name="Pale Gray">
      <a:srgbClr val="F5F5F5"/>
    </a:custClr>
  </a:custClrLst>
  <a:extLst>
    <a:ext uri="{05A4C25C-085E-4340-85A3-A5531E510DB2}">
      <thm15:themeFamily xmlns:thm15="http://schemas.microsoft.com/office/thememl/2012/main" name="Presentation1" id="{96F36FE3-BE77-6B49-A28C-EBAB79D62A72}" vid="{CB23E6C2-2C9F-0340-8DDC-7FE0424000E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Elevance Sans"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7209AA1A61D7B408C081C69C51E2085" ma:contentTypeVersion="3" ma:contentTypeDescription="Create a new document." ma:contentTypeScope="" ma:versionID="bc4c9b19d9411df4d1a389b1cfc745d5">
  <xsd:schema xmlns:xsd="http://www.w3.org/2001/XMLSchema" xmlns:xs="http://www.w3.org/2001/XMLSchema" xmlns:p="http://schemas.microsoft.com/office/2006/metadata/properties" xmlns:ns2="cbf536b3-8232-4782-9373-d2bddd2adf02" targetNamespace="http://schemas.microsoft.com/office/2006/metadata/properties" ma:root="true" ma:fieldsID="f4733d3a710627b16621a679d5a7d0a2" ns2:_="">
    <xsd:import namespace="cbf536b3-8232-4782-9373-d2bddd2adf02"/>
    <xsd:element name="properties">
      <xsd:complexType>
        <xsd:sequence>
          <xsd:element name="documentManagement">
            <xsd:complexType>
              <xsd:all>
                <xsd:element ref="ns2:MediaServiceMetadata" minOccurs="0"/>
                <xsd:element ref="ns2:MediaServiceFastMetadata"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bf536b3-8232-4782-9373-d2bddd2adf0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7C0A076-1BB0-4104-8BB5-0ECF7CDB5E02}">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EAD2D5A0-5364-410B-B3C1-FCD72FB6111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bf536b3-8232-4782-9373-d2bddd2adf0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A879919-1E6C-43A5-8596-997C9049FE8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RL_PowerPoint_Template_ElevanceSans_060723</Template>
  <TotalTime>13442</TotalTime>
  <Words>3417</Words>
  <Application>Microsoft Office PowerPoint</Application>
  <PresentationFormat>Widescreen</PresentationFormat>
  <Paragraphs>1474</Paragraphs>
  <Slides>14</Slides>
  <Notes>8</Notes>
  <HiddenSlides>0</HiddenSlides>
  <MMClips>0</MMClips>
  <ScaleCrop>false</ScaleCrop>
  <HeadingPairs>
    <vt:vector size="4" baseType="variant">
      <vt:variant>
        <vt:lpstr>Theme</vt:lpstr>
      </vt:variant>
      <vt:variant>
        <vt:i4>1</vt:i4>
      </vt:variant>
      <vt:variant>
        <vt:lpstr>Slide Titles</vt:lpstr>
      </vt:variant>
      <vt:variant>
        <vt:i4>14</vt:i4>
      </vt:variant>
    </vt:vector>
  </HeadingPairs>
  <TitlesOfParts>
    <vt:vector size="15" baseType="lpstr">
      <vt:lpstr>Carelon</vt:lpstr>
      <vt:lpstr>Duplicate Address Prediction</vt:lpstr>
      <vt:lpstr>Objective</vt:lpstr>
      <vt:lpstr>Causes of Address Discrepancies</vt:lpstr>
      <vt:lpstr>Data Sources</vt:lpstr>
      <vt:lpstr>LLM-based Address Pairing and Validation</vt:lpstr>
      <vt:lpstr>Transition from LLM to Graph Approach</vt:lpstr>
      <vt:lpstr>Graph-based Grouping and Analysis</vt:lpstr>
      <vt:lpstr>Sample Data</vt:lpstr>
      <vt:lpstr>Final Output after group Assignment</vt:lpstr>
      <vt:lpstr>Winning Address Determination</vt:lpstr>
      <vt:lpstr>Business Value</vt:lpstr>
      <vt:lpstr>Conclus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M, Roja</dc:creator>
  <cp:lastModifiedBy>C.M, Roja</cp:lastModifiedBy>
  <cp:revision>112</cp:revision>
  <dcterms:created xsi:type="dcterms:W3CDTF">2024-08-19T07:04:55Z</dcterms:created>
  <dcterms:modified xsi:type="dcterms:W3CDTF">2025-08-25T10:58: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7209AA1A61D7B408C081C69C51E2085</vt:lpwstr>
  </property>
</Properties>
</file>